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5"/>
  </p:notesMasterIdLst>
  <p:handoutMasterIdLst>
    <p:handoutMasterId r:id="rId16"/>
  </p:handoutMasterIdLst>
  <p:sldIdLst>
    <p:sldId id="293" r:id="rId5"/>
    <p:sldId id="310" r:id="rId6"/>
    <p:sldId id="311" r:id="rId7"/>
    <p:sldId id="312" r:id="rId8"/>
    <p:sldId id="294" r:id="rId9"/>
    <p:sldId id="313" r:id="rId10"/>
    <p:sldId id="314" r:id="rId11"/>
    <p:sldId id="315" r:id="rId12"/>
    <p:sldId id="316" r:id="rId13"/>
    <p:sldId id="298" r:id="rId14"/>
  </p:sldIdLst>
  <p:sldSz cx="12195175" cy="6858000"/>
  <p:notesSz cx="6797675" cy="9926638"/>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orient="horz" pos="943">
          <p15:clr>
            <a:srgbClr val="A4A3A4"/>
          </p15:clr>
        </p15:guide>
        <p15:guide id="3" orient="horz" pos="3518">
          <p15:clr>
            <a:srgbClr val="A4A3A4"/>
          </p15:clr>
        </p15:guide>
        <p15:guide id="4" orient="horz" pos="968">
          <p15:clr>
            <a:srgbClr val="A4A3A4"/>
          </p15:clr>
        </p15:guide>
        <p15:guide id="5" pos="3841">
          <p15:clr>
            <a:srgbClr val="A4A3A4"/>
          </p15:clr>
        </p15:guide>
        <p15:guide id="6" pos="276">
          <p15:clr>
            <a:srgbClr val="A4A3A4"/>
          </p15:clr>
        </p15:guide>
        <p15:guide id="7" pos="741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C"/>
    <a:srgbClr val="ACAEB1"/>
    <a:srgbClr val="A8AAAD"/>
    <a:srgbClr val="FF7E0E"/>
    <a:srgbClr val="99C900"/>
    <a:srgbClr val="10CABC"/>
    <a:srgbClr val="D1D1D4"/>
    <a:srgbClr val="CACBCD"/>
    <a:srgbClr val="7030A0"/>
    <a:srgbClr val="739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E31D3C-AC05-41A0-AE77-0A7BDD1B8BE2}" v="2085" dt="2026-02-20T14:22:17.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468" y="108"/>
      </p:cViewPr>
      <p:guideLst>
        <p:guide orient="horz" pos="2183"/>
        <p:guide orient="horz" pos="943"/>
        <p:guide orient="horz" pos="3518"/>
        <p:guide orient="horz" pos="968"/>
        <p:guide pos="3841"/>
        <p:guide pos="276"/>
        <p:guide pos="74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wn Lee (UK)" userId="03222456-4c0b-46ad-acb4-22367bd0c05e" providerId="ADAL" clId="{0DB3D54B-15AC-4C22-98A4-738A26DC574F}"/>
    <pc:docChg chg="undo custSel modSld">
      <pc:chgData name="Shawn Lee (UK)" userId="03222456-4c0b-46ad-acb4-22367bd0c05e" providerId="ADAL" clId="{0DB3D54B-15AC-4C22-98A4-738A26DC574F}" dt="2026-02-20T14:22:17.087" v="5275"/>
      <pc:docMkLst>
        <pc:docMk/>
      </pc:docMkLst>
      <pc:sldChg chg="addSp delSp modSp mod">
        <pc:chgData name="Shawn Lee (UK)" userId="03222456-4c0b-46ad-acb4-22367bd0c05e" providerId="ADAL" clId="{0DB3D54B-15AC-4C22-98A4-738A26DC574F}" dt="2026-02-20T14:10:34.820" v="1959"/>
        <pc:sldMkLst>
          <pc:docMk/>
          <pc:sldMk cId="3476664425" sldId="310"/>
        </pc:sldMkLst>
        <pc:spChg chg="mod ord">
          <ac:chgData name="Shawn Lee (UK)" userId="03222456-4c0b-46ad-acb4-22367bd0c05e" providerId="ADAL" clId="{0DB3D54B-15AC-4C22-98A4-738A26DC574F}" dt="2026-02-20T14:10:34.797" v="1889"/>
          <ac:spMkLst>
            <pc:docMk/>
            <pc:sldMk cId="3476664425" sldId="310"/>
            <ac:spMk id="3" creationId="{32CFAF05-8CD7-CE0D-44F7-0AF4D642E308}"/>
          </ac:spMkLst>
        </pc:spChg>
        <pc:spChg chg="mod">
          <ac:chgData name="Shawn Lee (UK)" userId="03222456-4c0b-46ad-acb4-22367bd0c05e" providerId="ADAL" clId="{0DB3D54B-15AC-4C22-98A4-738A26DC574F}" dt="2026-02-20T14:10:34.798" v="1890"/>
          <ac:spMkLst>
            <pc:docMk/>
            <pc:sldMk cId="3476664425" sldId="310"/>
            <ac:spMk id="5" creationId="{E96D2512-C9FC-28CF-20B9-5622A201DC7A}"/>
          </ac:spMkLst>
        </pc:spChg>
        <pc:spChg chg="add del mod modVis">
          <ac:chgData name="Shawn Lee (UK)" userId="03222456-4c0b-46ad-acb4-22367bd0c05e" providerId="ADAL" clId="{0DB3D54B-15AC-4C22-98A4-738A26DC574F}" dt="2026-02-20T14:05:15.088" v="223"/>
          <ac:spMkLst>
            <pc:docMk/>
            <pc:sldMk cId="3476664425" sldId="310"/>
            <ac:spMk id="6" creationId="{223E1B84-07DA-E491-EA3A-E9D297098BF6}"/>
          </ac:spMkLst>
        </pc:spChg>
        <pc:spChg chg="mod">
          <ac:chgData name="Shawn Lee (UK)" userId="03222456-4c0b-46ad-acb4-22367bd0c05e" providerId="ADAL" clId="{0DB3D54B-15AC-4C22-98A4-738A26DC574F}" dt="2026-02-20T14:10:34.818" v="1953"/>
          <ac:spMkLst>
            <pc:docMk/>
            <pc:sldMk cId="3476664425" sldId="310"/>
            <ac:spMk id="8" creationId="{4558BDB8-AF64-AF6C-848F-EEB9521B0050}"/>
          </ac:spMkLst>
        </pc:spChg>
        <pc:spChg chg="mod">
          <ac:chgData name="Shawn Lee (UK)" userId="03222456-4c0b-46ad-acb4-22367bd0c05e" providerId="ADAL" clId="{0DB3D54B-15AC-4C22-98A4-738A26DC574F}" dt="2026-02-20T14:10:34.818" v="1954"/>
          <ac:spMkLst>
            <pc:docMk/>
            <pc:sldMk cId="3476664425" sldId="310"/>
            <ac:spMk id="9" creationId="{18FF5446-E68B-20C5-1A95-A015CF5860C2}"/>
          </ac:spMkLst>
        </pc:spChg>
        <pc:spChg chg="mod">
          <ac:chgData name="Shawn Lee (UK)" userId="03222456-4c0b-46ad-acb4-22367bd0c05e" providerId="ADAL" clId="{0DB3D54B-15AC-4C22-98A4-738A26DC574F}" dt="2026-02-20T14:10:34.806" v="1920"/>
          <ac:spMkLst>
            <pc:docMk/>
            <pc:sldMk cId="3476664425" sldId="310"/>
            <ac:spMk id="10" creationId="{EE1712F4-53CB-6D1A-96D8-0882E887AFDF}"/>
          </ac:spMkLst>
        </pc:spChg>
        <pc:spChg chg="add del mod modVis">
          <ac:chgData name="Shawn Lee (UK)" userId="03222456-4c0b-46ad-acb4-22367bd0c05e" providerId="ADAL" clId="{0DB3D54B-15AC-4C22-98A4-738A26DC574F}" dt="2026-02-20T14:05:30.425" v="327"/>
          <ac:spMkLst>
            <pc:docMk/>
            <pc:sldMk cId="3476664425" sldId="310"/>
            <ac:spMk id="11" creationId="{7DE0D927-0AAB-43D2-3CBC-435FDE89BA04}"/>
          </ac:spMkLst>
        </pc:spChg>
        <pc:spChg chg="add mod">
          <ac:chgData name="Shawn Lee (UK)" userId="03222456-4c0b-46ad-acb4-22367bd0c05e" providerId="ADAL" clId="{0DB3D54B-15AC-4C22-98A4-738A26DC574F}" dt="2026-02-20T14:10:34.818" v="1951"/>
          <ac:spMkLst>
            <pc:docMk/>
            <pc:sldMk cId="3476664425" sldId="310"/>
            <ac:spMk id="14" creationId="{7B98813F-43C1-3574-501A-1B648B15DCF8}"/>
          </ac:spMkLst>
        </pc:spChg>
        <pc:spChg chg="add del mod modVis">
          <ac:chgData name="Shawn Lee (UK)" userId="03222456-4c0b-46ad-acb4-22367bd0c05e" providerId="ADAL" clId="{0DB3D54B-15AC-4C22-98A4-738A26DC574F}" dt="2026-02-20T14:05:33.158" v="516"/>
          <ac:spMkLst>
            <pc:docMk/>
            <pc:sldMk cId="3476664425" sldId="310"/>
            <ac:spMk id="15" creationId="{0D1FA06D-636A-C3EA-2D2A-B4926232011C}"/>
          </ac:spMkLst>
        </pc:spChg>
        <pc:spChg chg="add mod">
          <ac:chgData name="Shawn Lee (UK)" userId="03222456-4c0b-46ad-acb4-22367bd0c05e" providerId="ADAL" clId="{0DB3D54B-15AC-4C22-98A4-738A26DC574F}" dt="2026-02-20T14:10:34.818" v="1952"/>
          <ac:spMkLst>
            <pc:docMk/>
            <pc:sldMk cId="3476664425" sldId="310"/>
            <ac:spMk id="17" creationId="{5546D96A-F600-EF56-43CB-4041900A9C60}"/>
          </ac:spMkLst>
        </pc:spChg>
        <pc:spChg chg="add del mod modVis">
          <ac:chgData name="Shawn Lee (UK)" userId="03222456-4c0b-46ad-acb4-22367bd0c05e" providerId="ADAL" clId="{0DB3D54B-15AC-4C22-98A4-738A26DC574F}" dt="2026-02-20T14:05:44.461" v="797"/>
          <ac:spMkLst>
            <pc:docMk/>
            <pc:sldMk cId="3476664425" sldId="310"/>
            <ac:spMk id="18" creationId="{EAC86DD3-B429-83E9-B5F7-834591FD539F}"/>
          </ac:spMkLst>
        </pc:spChg>
        <pc:spChg chg="add mod">
          <ac:chgData name="Shawn Lee (UK)" userId="03222456-4c0b-46ad-acb4-22367bd0c05e" providerId="ADAL" clId="{0DB3D54B-15AC-4C22-98A4-738A26DC574F}" dt="2026-02-20T14:10:34.806" v="1919"/>
          <ac:spMkLst>
            <pc:docMk/>
            <pc:sldMk cId="3476664425" sldId="310"/>
            <ac:spMk id="19" creationId="{B7C06206-E360-540F-E18C-A76E7E651C49}"/>
          </ac:spMkLst>
        </pc:spChg>
        <pc:spChg chg="mod">
          <ac:chgData name="Shawn Lee (UK)" userId="03222456-4c0b-46ad-acb4-22367bd0c05e" providerId="ADAL" clId="{0DB3D54B-15AC-4C22-98A4-738A26DC574F}" dt="2026-02-20T14:10:34.806" v="1921"/>
          <ac:spMkLst>
            <pc:docMk/>
            <pc:sldMk cId="3476664425" sldId="310"/>
            <ac:spMk id="21" creationId="{D726B0E7-55B5-2C67-ED9F-600CE46AA8D7}"/>
          </ac:spMkLst>
        </pc:spChg>
        <pc:spChg chg="mod">
          <ac:chgData name="Shawn Lee (UK)" userId="03222456-4c0b-46ad-acb4-22367bd0c05e" providerId="ADAL" clId="{0DB3D54B-15AC-4C22-98A4-738A26DC574F}" dt="2026-02-20T14:10:34.807" v="1922"/>
          <ac:spMkLst>
            <pc:docMk/>
            <pc:sldMk cId="3476664425" sldId="310"/>
            <ac:spMk id="22" creationId="{B4482393-4FA6-4110-EDCC-E8BD44C0934E}"/>
          </ac:spMkLst>
        </pc:spChg>
        <pc:spChg chg="mod">
          <ac:chgData name="Shawn Lee (UK)" userId="03222456-4c0b-46ad-acb4-22367bd0c05e" providerId="ADAL" clId="{0DB3D54B-15AC-4C22-98A4-738A26DC574F}" dt="2026-02-20T14:10:34.807" v="1923"/>
          <ac:spMkLst>
            <pc:docMk/>
            <pc:sldMk cId="3476664425" sldId="310"/>
            <ac:spMk id="23" creationId="{B147A8F5-5135-C907-2A3A-4ADBD71A5A88}"/>
          </ac:spMkLst>
        </pc:spChg>
        <pc:spChg chg="mod">
          <ac:chgData name="Shawn Lee (UK)" userId="03222456-4c0b-46ad-acb4-22367bd0c05e" providerId="ADAL" clId="{0DB3D54B-15AC-4C22-98A4-738A26DC574F}" dt="2026-02-20T14:10:34.807" v="1924"/>
          <ac:spMkLst>
            <pc:docMk/>
            <pc:sldMk cId="3476664425" sldId="310"/>
            <ac:spMk id="24" creationId="{ACCD8E99-41ED-1AC5-6E0D-D6EA23145C0F}"/>
          </ac:spMkLst>
        </pc:spChg>
        <pc:spChg chg="mod">
          <ac:chgData name="Shawn Lee (UK)" userId="03222456-4c0b-46ad-acb4-22367bd0c05e" providerId="ADAL" clId="{0DB3D54B-15AC-4C22-98A4-738A26DC574F}" dt="2026-02-20T14:10:34.808" v="1925"/>
          <ac:spMkLst>
            <pc:docMk/>
            <pc:sldMk cId="3476664425" sldId="310"/>
            <ac:spMk id="25" creationId="{8A8725AA-682C-0331-07E9-CB39597A4219}"/>
          </ac:spMkLst>
        </pc:spChg>
        <pc:spChg chg="mod">
          <ac:chgData name="Shawn Lee (UK)" userId="03222456-4c0b-46ad-acb4-22367bd0c05e" providerId="ADAL" clId="{0DB3D54B-15AC-4C22-98A4-738A26DC574F}" dt="2026-02-20T14:10:34.808" v="1926"/>
          <ac:spMkLst>
            <pc:docMk/>
            <pc:sldMk cId="3476664425" sldId="310"/>
            <ac:spMk id="26" creationId="{DB53F325-A6CE-DC46-7022-7909629D60CE}"/>
          </ac:spMkLst>
        </pc:spChg>
        <pc:spChg chg="mod">
          <ac:chgData name="Shawn Lee (UK)" userId="03222456-4c0b-46ad-acb4-22367bd0c05e" providerId="ADAL" clId="{0DB3D54B-15AC-4C22-98A4-738A26DC574F}" dt="2026-02-20T14:10:34.808" v="1927"/>
          <ac:spMkLst>
            <pc:docMk/>
            <pc:sldMk cId="3476664425" sldId="310"/>
            <ac:spMk id="27" creationId="{0F5B7BDE-BBDB-AF67-F11B-3D89DD7E2B6A}"/>
          </ac:spMkLst>
        </pc:spChg>
        <pc:spChg chg="mod">
          <ac:chgData name="Shawn Lee (UK)" userId="03222456-4c0b-46ad-acb4-22367bd0c05e" providerId="ADAL" clId="{0DB3D54B-15AC-4C22-98A4-738A26DC574F}" dt="2026-02-20T14:10:34.809" v="1928"/>
          <ac:spMkLst>
            <pc:docMk/>
            <pc:sldMk cId="3476664425" sldId="310"/>
            <ac:spMk id="28" creationId="{3B7AA66A-C4B3-4686-669A-522FB13F30DB}"/>
          </ac:spMkLst>
        </pc:spChg>
        <pc:spChg chg="mod">
          <ac:chgData name="Shawn Lee (UK)" userId="03222456-4c0b-46ad-acb4-22367bd0c05e" providerId="ADAL" clId="{0DB3D54B-15AC-4C22-98A4-738A26DC574F}" dt="2026-02-20T14:10:34.809" v="1929"/>
          <ac:spMkLst>
            <pc:docMk/>
            <pc:sldMk cId="3476664425" sldId="310"/>
            <ac:spMk id="29" creationId="{3DB85616-5384-31BD-96BA-A19FC4178B60}"/>
          </ac:spMkLst>
        </pc:spChg>
        <pc:spChg chg="mod">
          <ac:chgData name="Shawn Lee (UK)" userId="03222456-4c0b-46ad-acb4-22367bd0c05e" providerId="ADAL" clId="{0DB3D54B-15AC-4C22-98A4-738A26DC574F}" dt="2026-02-20T14:10:34.809" v="1930"/>
          <ac:spMkLst>
            <pc:docMk/>
            <pc:sldMk cId="3476664425" sldId="310"/>
            <ac:spMk id="30" creationId="{2404FEE5-0359-C0D2-B348-47B8ABAE5518}"/>
          </ac:spMkLst>
        </pc:spChg>
        <pc:spChg chg="mod">
          <ac:chgData name="Shawn Lee (UK)" userId="03222456-4c0b-46ad-acb4-22367bd0c05e" providerId="ADAL" clId="{0DB3D54B-15AC-4C22-98A4-738A26DC574F}" dt="2026-02-20T14:10:34.809" v="1931"/>
          <ac:spMkLst>
            <pc:docMk/>
            <pc:sldMk cId="3476664425" sldId="310"/>
            <ac:spMk id="31" creationId="{06177F48-45D8-798C-9FC2-44BA5D82B96D}"/>
          </ac:spMkLst>
        </pc:spChg>
        <pc:spChg chg="mod">
          <ac:chgData name="Shawn Lee (UK)" userId="03222456-4c0b-46ad-acb4-22367bd0c05e" providerId="ADAL" clId="{0DB3D54B-15AC-4C22-98A4-738A26DC574F}" dt="2026-02-20T14:10:34.811" v="1932"/>
          <ac:spMkLst>
            <pc:docMk/>
            <pc:sldMk cId="3476664425" sldId="310"/>
            <ac:spMk id="32" creationId="{B611909C-3E13-0E00-D3F0-A34D0754D851}"/>
          </ac:spMkLst>
        </pc:spChg>
        <pc:spChg chg="add del mod modVis">
          <ac:chgData name="Shawn Lee (UK)" userId="03222456-4c0b-46ad-acb4-22367bd0c05e" providerId="ADAL" clId="{0DB3D54B-15AC-4C22-98A4-738A26DC574F}" dt="2026-02-20T14:05:49.536" v="907"/>
          <ac:spMkLst>
            <pc:docMk/>
            <pc:sldMk cId="3476664425" sldId="310"/>
            <ac:spMk id="34" creationId="{801415EA-3707-DAF6-5EDA-0B92913A9F16}"/>
          </ac:spMkLst>
        </pc:spChg>
        <pc:spChg chg="add del mod modVis">
          <ac:chgData name="Shawn Lee (UK)" userId="03222456-4c0b-46ad-acb4-22367bd0c05e" providerId="ADAL" clId="{0DB3D54B-15AC-4C22-98A4-738A26DC574F}" dt="2026-02-20T14:10:34.820" v="1957"/>
          <ac:spMkLst>
            <pc:docMk/>
            <pc:sldMk cId="3476664425" sldId="310"/>
            <ac:spMk id="36" creationId="{D1D8C6D2-55C4-6782-9327-FF2115DCF5CD}"/>
          </ac:spMkLst>
        </pc:spChg>
        <pc:spChg chg="mod">
          <ac:chgData name="Shawn Lee (UK)" userId="03222456-4c0b-46ad-acb4-22367bd0c05e" providerId="ADAL" clId="{0DB3D54B-15AC-4C22-98A4-738A26DC574F}" dt="2026-02-20T14:10:34.811" v="1933"/>
          <ac:spMkLst>
            <pc:docMk/>
            <pc:sldMk cId="3476664425" sldId="310"/>
            <ac:spMk id="49" creationId="{21262F34-33B8-3156-405B-0329BD39D363}"/>
          </ac:spMkLst>
        </pc:spChg>
        <pc:spChg chg="mod">
          <ac:chgData name="Shawn Lee (UK)" userId="03222456-4c0b-46ad-acb4-22367bd0c05e" providerId="ADAL" clId="{0DB3D54B-15AC-4C22-98A4-738A26DC574F}" dt="2026-02-20T14:10:34.813" v="1938"/>
          <ac:spMkLst>
            <pc:docMk/>
            <pc:sldMk cId="3476664425" sldId="310"/>
            <ac:spMk id="50" creationId="{F08352B3-7B01-C08F-6C43-09116259FB5E}"/>
          </ac:spMkLst>
        </pc:spChg>
        <pc:spChg chg="mod ord">
          <ac:chgData name="Shawn Lee (UK)" userId="03222456-4c0b-46ad-acb4-22367bd0c05e" providerId="ADAL" clId="{0DB3D54B-15AC-4C22-98A4-738A26DC574F}" dt="2026-02-20T14:10:34.813" v="1949"/>
          <ac:spMkLst>
            <pc:docMk/>
            <pc:sldMk cId="3476664425" sldId="310"/>
            <ac:spMk id="51" creationId="{5ED18958-9434-654E-48D3-626EE62CE623}"/>
          </ac:spMkLst>
        </pc:spChg>
        <pc:spChg chg="mod ord">
          <ac:chgData name="Shawn Lee (UK)" userId="03222456-4c0b-46ad-acb4-22367bd0c05e" providerId="ADAL" clId="{0DB3D54B-15AC-4C22-98A4-738A26DC574F}" dt="2026-02-20T14:10:34.813" v="1947"/>
          <ac:spMkLst>
            <pc:docMk/>
            <pc:sldMk cId="3476664425" sldId="310"/>
            <ac:spMk id="52" creationId="{42BA11C1-D136-38AD-D3DA-C2847F3A69B2}"/>
          </ac:spMkLst>
        </pc:spChg>
        <pc:spChg chg="mod">
          <ac:chgData name="Shawn Lee (UK)" userId="03222456-4c0b-46ad-acb4-22367bd0c05e" providerId="ADAL" clId="{0DB3D54B-15AC-4C22-98A4-738A26DC574F}" dt="2026-02-20T14:10:34.813" v="1941"/>
          <ac:spMkLst>
            <pc:docMk/>
            <pc:sldMk cId="3476664425" sldId="310"/>
            <ac:spMk id="53" creationId="{9C0743A4-DF3A-26A0-C677-F26C5366AE92}"/>
          </ac:spMkLst>
        </pc:spChg>
        <pc:spChg chg="mod">
          <ac:chgData name="Shawn Lee (UK)" userId="03222456-4c0b-46ad-acb4-22367bd0c05e" providerId="ADAL" clId="{0DB3D54B-15AC-4C22-98A4-738A26DC574F}" dt="2026-02-20T14:10:34.805" v="1917"/>
          <ac:spMkLst>
            <pc:docMk/>
            <pc:sldMk cId="3476664425" sldId="310"/>
            <ac:spMk id="54" creationId="{819DA0A1-275D-34BC-2323-3047CCA4F7F5}"/>
          </ac:spMkLst>
        </pc:spChg>
        <pc:spChg chg="mod">
          <ac:chgData name="Shawn Lee (UK)" userId="03222456-4c0b-46ad-acb4-22367bd0c05e" providerId="ADAL" clId="{0DB3D54B-15AC-4C22-98A4-738A26DC574F}" dt="2026-02-20T14:10:34.803" v="1911"/>
          <ac:spMkLst>
            <pc:docMk/>
            <pc:sldMk cId="3476664425" sldId="310"/>
            <ac:spMk id="56" creationId="{87225731-19F2-198A-F0E1-ED020BEF7195}"/>
          </ac:spMkLst>
        </pc:spChg>
        <pc:spChg chg="mod">
          <ac:chgData name="Shawn Lee (UK)" userId="03222456-4c0b-46ad-acb4-22367bd0c05e" providerId="ADAL" clId="{0DB3D54B-15AC-4C22-98A4-738A26DC574F}" dt="2026-02-20T14:10:34.804" v="1912"/>
          <ac:spMkLst>
            <pc:docMk/>
            <pc:sldMk cId="3476664425" sldId="310"/>
            <ac:spMk id="58" creationId="{7CF76773-7B1F-EA1E-2BC3-1A077E1DFDC8}"/>
          </ac:spMkLst>
        </pc:spChg>
        <pc:spChg chg="mod">
          <ac:chgData name="Shawn Lee (UK)" userId="03222456-4c0b-46ad-acb4-22367bd0c05e" providerId="ADAL" clId="{0DB3D54B-15AC-4C22-98A4-738A26DC574F}" dt="2026-02-20T14:10:34.804" v="1913"/>
          <ac:spMkLst>
            <pc:docMk/>
            <pc:sldMk cId="3476664425" sldId="310"/>
            <ac:spMk id="60" creationId="{D7FFF20B-1E78-C3B5-441A-FB0A76B9FDA1}"/>
          </ac:spMkLst>
        </pc:spChg>
        <pc:spChg chg="mod">
          <ac:chgData name="Shawn Lee (UK)" userId="03222456-4c0b-46ad-acb4-22367bd0c05e" providerId="ADAL" clId="{0DB3D54B-15AC-4C22-98A4-738A26DC574F}" dt="2026-02-20T14:10:34.804" v="1914"/>
          <ac:spMkLst>
            <pc:docMk/>
            <pc:sldMk cId="3476664425" sldId="310"/>
            <ac:spMk id="62" creationId="{C19C67C1-33C9-87D3-8759-1396804F57A6}"/>
          </ac:spMkLst>
        </pc:spChg>
        <pc:spChg chg="mod">
          <ac:chgData name="Shawn Lee (UK)" userId="03222456-4c0b-46ad-acb4-22367bd0c05e" providerId="ADAL" clId="{0DB3D54B-15AC-4C22-98A4-738A26DC574F}" dt="2026-02-20T14:10:34.805" v="1915"/>
          <ac:spMkLst>
            <pc:docMk/>
            <pc:sldMk cId="3476664425" sldId="310"/>
            <ac:spMk id="64" creationId="{BFB0CBAC-04F7-9C0D-E1FB-41D2B8EC1705}"/>
          </ac:spMkLst>
        </pc:spChg>
        <pc:spChg chg="mod">
          <ac:chgData name="Shawn Lee (UK)" userId="03222456-4c0b-46ad-acb4-22367bd0c05e" providerId="ADAL" clId="{0DB3D54B-15AC-4C22-98A4-738A26DC574F}" dt="2026-02-20T14:10:34.805" v="1916"/>
          <ac:spMkLst>
            <pc:docMk/>
            <pc:sldMk cId="3476664425" sldId="310"/>
            <ac:spMk id="66" creationId="{B1B72C67-CD10-4428-3F43-07C84C1E44BD}"/>
          </ac:spMkLst>
        </pc:spChg>
        <pc:spChg chg="mod">
          <ac:chgData name="Shawn Lee (UK)" userId="03222456-4c0b-46ad-acb4-22367bd0c05e" providerId="ADAL" clId="{0DB3D54B-15AC-4C22-98A4-738A26DC574F}" dt="2026-02-20T14:10:34.806" v="1918"/>
          <ac:spMkLst>
            <pc:docMk/>
            <pc:sldMk cId="3476664425" sldId="310"/>
            <ac:spMk id="68" creationId="{21C3EEE9-1DFE-E0E9-B876-929918B8E05B}"/>
          </ac:spMkLst>
        </pc:spChg>
        <pc:spChg chg="mod">
          <ac:chgData name="Shawn Lee (UK)" userId="03222456-4c0b-46ad-acb4-22367bd0c05e" providerId="ADAL" clId="{0DB3D54B-15AC-4C22-98A4-738A26DC574F}" dt="2026-02-20T14:10:34.813" v="1934"/>
          <ac:spMkLst>
            <pc:docMk/>
            <pc:sldMk cId="3476664425" sldId="310"/>
            <ac:spMk id="71" creationId="{A8BFD4C8-D986-1359-8D3E-43253EAEB2AA}"/>
          </ac:spMkLst>
        </pc:spChg>
        <pc:spChg chg="mod ord">
          <ac:chgData name="Shawn Lee (UK)" userId="03222456-4c0b-46ad-acb4-22367bd0c05e" providerId="ADAL" clId="{0DB3D54B-15AC-4C22-98A4-738A26DC574F}" dt="2026-02-20T14:10:34.813" v="1936"/>
          <ac:spMkLst>
            <pc:docMk/>
            <pc:sldMk cId="3476664425" sldId="310"/>
            <ac:spMk id="72" creationId="{D5C33049-DBF7-7B9E-692A-0B4E5B65A7E8}"/>
          </ac:spMkLst>
        </pc:spChg>
        <pc:spChg chg="mod">
          <ac:chgData name="Shawn Lee (UK)" userId="03222456-4c0b-46ad-acb4-22367bd0c05e" providerId="ADAL" clId="{0DB3D54B-15AC-4C22-98A4-738A26DC574F}" dt="2026-02-20T14:10:34.813" v="1937"/>
          <ac:spMkLst>
            <pc:docMk/>
            <pc:sldMk cId="3476664425" sldId="310"/>
            <ac:spMk id="73" creationId="{7651A1A0-DCBC-D158-5B23-BC5E8845E935}"/>
          </ac:spMkLst>
        </pc:spChg>
        <pc:spChg chg="mod">
          <ac:chgData name="Shawn Lee (UK)" userId="03222456-4c0b-46ad-acb4-22367bd0c05e" providerId="ADAL" clId="{0DB3D54B-15AC-4C22-98A4-738A26DC574F}" dt="2026-02-20T14:10:34.813" v="1939"/>
          <ac:spMkLst>
            <pc:docMk/>
            <pc:sldMk cId="3476664425" sldId="310"/>
            <ac:spMk id="74" creationId="{D5F10EDE-B87F-BE18-F86D-AF3EFF1AFB55}"/>
          </ac:spMkLst>
        </pc:spChg>
        <pc:spChg chg="mod">
          <ac:chgData name="Shawn Lee (UK)" userId="03222456-4c0b-46ad-acb4-22367bd0c05e" providerId="ADAL" clId="{0DB3D54B-15AC-4C22-98A4-738A26DC574F}" dt="2026-02-20T14:10:34.813" v="1940"/>
          <ac:spMkLst>
            <pc:docMk/>
            <pc:sldMk cId="3476664425" sldId="310"/>
            <ac:spMk id="75" creationId="{A6F23BF9-720F-F461-B8AD-7C0F0D45B9E5}"/>
          </ac:spMkLst>
        </pc:spChg>
        <pc:spChg chg="mod">
          <ac:chgData name="Shawn Lee (UK)" userId="03222456-4c0b-46ad-acb4-22367bd0c05e" providerId="ADAL" clId="{0DB3D54B-15AC-4C22-98A4-738A26DC574F}" dt="2026-02-20T14:10:34.813" v="1942"/>
          <ac:spMkLst>
            <pc:docMk/>
            <pc:sldMk cId="3476664425" sldId="310"/>
            <ac:spMk id="76" creationId="{E75989BE-42B2-B6B6-8C92-F3E235063B4B}"/>
          </ac:spMkLst>
        </pc:spChg>
        <pc:spChg chg="mod">
          <ac:chgData name="Shawn Lee (UK)" userId="03222456-4c0b-46ad-acb4-22367bd0c05e" providerId="ADAL" clId="{0DB3D54B-15AC-4C22-98A4-738A26DC574F}" dt="2026-02-20T14:10:34.813" v="1943"/>
          <ac:spMkLst>
            <pc:docMk/>
            <pc:sldMk cId="3476664425" sldId="310"/>
            <ac:spMk id="77" creationId="{BFF51F25-4276-8DB0-3C58-1D7A3ABD348D}"/>
          </ac:spMkLst>
        </pc:spChg>
        <pc:spChg chg="mod">
          <ac:chgData name="Shawn Lee (UK)" userId="03222456-4c0b-46ad-acb4-22367bd0c05e" providerId="ADAL" clId="{0DB3D54B-15AC-4C22-98A4-738A26DC574F}" dt="2026-02-20T14:10:34.813" v="1944"/>
          <ac:spMkLst>
            <pc:docMk/>
            <pc:sldMk cId="3476664425" sldId="310"/>
            <ac:spMk id="78" creationId="{A8274723-7CED-ED62-CA02-3D7C43FAAAC2}"/>
          </ac:spMkLst>
        </pc:spChg>
        <pc:spChg chg="mod">
          <ac:chgData name="Shawn Lee (UK)" userId="03222456-4c0b-46ad-acb4-22367bd0c05e" providerId="ADAL" clId="{0DB3D54B-15AC-4C22-98A4-738A26DC574F}" dt="2026-02-20T14:10:34.813" v="1945"/>
          <ac:spMkLst>
            <pc:docMk/>
            <pc:sldMk cId="3476664425" sldId="310"/>
            <ac:spMk id="79" creationId="{C10B2C44-80A0-31AB-7A1B-D12836F43990}"/>
          </ac:spMkLst>
        </pc:spChg>
        <pc:spChg chg="mod">
          <ac:chgData name="Shawn Lee (UK)" userId="03222456-4c0b-46ad-acb4-22367bd0c05e" providerId="ADAL" clId="{0DB3D54B-15AC-4C22-98A4-738A26DC574F}" dt="2026-02-20T14:10:34.818" v="1955"/>
          <ac:spMkLst>
            <pc:docMk/>
            <pc:sldMk cId="3476664425" sldId="310"/>
            <ac:spMk id="80" creationId="{6EAB7490-8FB9-455E-2987-823FEA89EEC6}"/>
          </ac:spMkLst>
        </pc:spChg>
        <pc:spChg chg="mod">
          <ac:chgData name="Shawn Lee (UK)" userId="03222456-4c0b-46ad-acb4-22367bd0c05e" providerId="ADAL" clId="{0DB3D54B-15AC-4C22-98A4-738A26DC574F}" dt="2026-02-20T14:10:34.818" v="1950"/>
          <ac:spMkLst>
            <pc:docMk/>
            <pc:sldMk cId="3476664425" sldId="310"/>
            <ac:spMk id="81" creationId="{EEA59B1A-A0AC-1354-5BED-389C22238881}"/>
          </ac:spMkLst>
        </pc:spChg>
        <pc:graphicFrameChg chg="mod">
          <ac:chgData name="Shawn Lee (UK)" userId="03222456-4c0b-46ad-acb4-22367bd0c05e" providerId="ADAL" clId="{0DB3D54B-15AC-4C22-98A4-738A26DC574F}" dt="2026-02-20T14:10:34.820" v="1959"/>
          <ac:graphicFrameMkLst>
            <pc:docMk/>
            <pc:sldMk cId="3476664425" sldId="310"/>
            <ac:graphicFrameMk id="4" creationId="{7557FC3F-C579-A3F8-CB7A-E42A56182EBA}"/>
          </ac:graphicFrameMkLst>
        </pc:graphicFrameChg>
        <pc:graphicFrameChg chg="add del mod ord">
          <ac:chgData name="Shawn Lee (UK)" userId="03222456-4c0b-46ad-acb4-22367bd0c05e" providerId="ADAL" clId="{0DB3D54B-15AC-4C22-98A4-738A26DC574F}" dt="2026-02-20T14:05:30.376" v="258"/>
          <ac:graphicFrameMkLst>
            <pc:docMk/>
            <pc:sldMk cId="3476664425" sldId="310"/>
            <ac:graphicFrameMk id="7" creationId="{2B438782-565A-AECD-E1A7-1BB0AB81BA36}"/>
          </ac:graphicFrameMkLst>
        </pc:graphicFrameChg>
        <pc:graphicFrameChg chg="add del mod ord">
          <ac:chgData name="Shawn Lee (UK)" userId="03222456-4c0b-46ad-acb4-22367bd0c05e" providerId="ADAL" clId="{0DB3D54B-15AC-4C22-98A4-738A26DC574F}" dt="2026-02-20T14:05:33.125" v="446"/>
          <ac:graphicFrameMkLst>
            <pc:docMk/>
            <pc:sldMk cId="3476664425" sldId="310"/>
            <ac:graphicFrameMk id="12" creationId="{A76286C9-813D-E8F0-C85A-688B103CE654}"/>
          </ac:graphicFrameMkLst>
        </pc:graphicFrameChg>
        <pc:graphicFrameChg chg="del">
          <ac:chgData name="Shawn Lee (UK)" userId="03222456-4c0b-46ad-acb4-22367bd0c05e" providerId="ADAL" clId="{0DB3D54B-15AC-4C22-98A4-738A26DC574F}" dt="2026-02-20T14:05:15.047" v="154"/>
          <ac:graphicFrameMkLst>
            <pc:docMk/>
            <pc:sldMk cId="3476664425" sldId="310"/>
            <ac:graphicFrameMk id="13" creationId="{4E5FDE1B-DADF-1330-B9E2-42E019DC61C2}"/>
          </ac:graphicFrameMkLst>
        </pc:graphicFrameChg>
        <pc:graphicFrameChg chg="add del mod ord">
          <ac:chgData name="Shawn Lee (UK)" userId="03222456-4c0b-46ad-acb4-22367bd0c05e" providerId="ADAL" clId="{0DB3D54B-15AC-4C22-98A4-738A26DC574F}" dt="2026-02-20T14:05:44.427" v="722"/>
          <ac:graphicFrameMkLst>
            <pc:docMk/>
            <pc:sldMk cId="3476664425" sldId="310"/>
            <ac:graphicFrameMk id="16" creationId="{BD278CAF-6448-54CF-EF1B-5517D3BD9DB4}"/>
          </ac:graphicFrameMkLst>
        </pc:graphicFrameChg>
        <pc:graphicFrameChg chg="add del mod ord">
          <ac:chgData name="Shawn Lee (UK)" userId="03222456-4c0b-46ad-acb4-22367bd0c05e" providerId="ADAL" clId="{0DB3D54B-15AC-4C22-98A4-738A26DC574F}" dt="2026-02-20T14:05:49.514" v="832"/>
          <ac:graphicFrameMkLst>
            <pc:docMk/>
            <pc:sldMk cId="3476664425" sldId="310"/>
            <ac:graphicFrameMk id="33" creationId="{2B77A5CB-116A-ECB2-90BC-8365A12123DF}"/>
          </ac:graphicFrameMkLst>
        </pc:graphicFrameChg>
        <pc:graphicFrameChg chg="add del mod ord">
          <ac:chgData name="Shawn Lee (UK)" userId="03222456-4c0b-46ad-acb4-22367bd0c05e" providerId="ADAL" clId="{0DB3D54B-15AC-4C22-98A4-738A26DC574F}" dt="2026-02-20T14:10:34.784" v="1882"/>
          <ac:graphicFrameMkLst>
            <pc:docMk/>
            <pc:sldMk cId="3476664425" sldId="310"/>
            <ac:graphicFrameMk id="35" creationId="{E8EB68E2-C207-E5C9-3A14-501FBB3D94E2}"/>
          </ac:graphicFrameMkLst>
        </pc:graphicFrameChg>
        <pc:graphicFrameChg chg="add mod ord">
          <ac:chgData name="Shawn Lee (UK)" userId="03222456-4c0b-46ad-acb4-22367bd0c05e" providerId="ADAL" clId="{0DB3D54B-15AC-4C22-98A4-738A26DC574F}" dt="2026-02-20T14:10:34.803" v="1910"/>
          <ac:graphicFrameMkLst>
            <pc:docMk/>
            <pc:sldMk cId="3476664425" sldId="310"/>
            <ac:graphicFrameMk id="37" creationId="{66DC9F53-742E-994A-AC98-64BA32F9C210}"/>
          </ac:graphicFrameMkLst>
        </pc:graphicFrameChg>
        <pc:picChg chg="mod ord">
          <ac:chgData name="Shawn Lee (UK)" userId="03222456-4c0b-46ad-acb4-22367bd0c05e" providerId="ADAL" clId="{0DB3D54B-15AC-4C22-98A4-738A26DC574F}" dt="2026-02-20T14:10:34.799" v="1892"/>
          <ac:picMkLst>
            <pc:docMk/>
            <pc:sldMk cId="3476664425" sldId="310"/>
            <ac:picMk id="2" creationId="{716DD826-31AB-EFC3-C6A4-CA94A67C47A8}"/>
          </ac:picMkLst>
        </pc:picChg>
        <pc:cxnChg chg="add mod ord">
          <ac:chgData name="Shawn Lee (UK)" userId="03222456-4c0b-46ad-acb4-22367bd0c05e" providerId="ADAL" clId="{0DB3D54B-15AC-4C22-98A4-738A26DC574F}" dt="2026-02-20T14:10:34.803" v="1908"/>
          <ac:cxnSpMkLst>
            <pc:docMk/>
            <pc:sldMk cId="3476664425" sldId="310"/>
            <ac:cxnSpMk id="20" creationId="{7A9742B8-A9AB-1A96-9957-D74CE53B2C02}"/>
          </ac:cxnSpMkLst>
        </pc:cxnChg>
        <pc:cxnChg chg="mod ord">
          <ac:chgData name="Shawn Lee (UK)" userId="03222456-4c0b-46ad-acb4-22367bd0c05e" providerId="ADAL" clId="{0DB3D54B-15AC-4C22-98A4-738A26DC574F}" dt="2026-02-20T14:10:34.800" v="1896"/>
          <ac:cxnSpMkLst>
            <pc:docMk/>
            <pc:sldMk cId="3476664425" sldId="310"/>
            <ac:cxnSpMk id="228" creationId="{254364F0-85C0-9CF5-7A5F-5EB36101CB88}"/>
          </ac:cxnSpMkLst>
        </pc:cxnChg>
        <pc:cxnChg chg="mod ord">
          <ac:chgData name="Shawn Lee (UK)" userId="03222456-4c0b-46ad-acb4-22367bd0c05e" providerId="ADAL" clId="{0DB3D54B-15AC-4C22-98A4-738A26DC574F}" dt="2026-02-20T14:10:34.800" v="1898"/>
          <ac:cxnSpMkLst>
            <pc:docMk/>
            <pc:sldMk cId="3476664425" sldId="310"/>
            <ac:cxnSpMk id="229" creationId="{337A4BF6-E553-7402-8B83-95FFCE853480}"/>
          </ac:cxnSpMkLst>
        </pc:cxnChg>
        <pc:cxnChg chg="mod ord">
          <ac:chgData name="Shawn Lee (UK)" userId="03222456-4c0b-46ad-acb4-22367bd0c05e" providerId="ADAL" clId="{0DB3D54B-15AC-4C22-98A4-738A26DC574F}" dt="2026-02-20T14:10:34.799" v="1894"/>
          <ac:cxnSpMkLst>
            <pc:docMk/>
            <pc:sldMk cId="3476664425" sldId="310"/>
            <ac:cxnSpMk id="230" creationId="{91216262-A01E-5BBB-DD90-879F8F3FBA18}"/>
          </ac:cxnSpMkLst>
        </pc:cxnChg>
        <pc:cxnChg chg="mod ord">
          <ac:chgData name="Shawn Lee (UK)" userId="03222456-4c0b-46ad-acb4-22367bd0c05e" providerId="ADAL" clId="{0DB3D54B-15AC-4C22-98A4-738A26DC574F}" dt="2026-02-20T14:10:34.801" v="1902"/>
          <ac:cxnSpMkLst>
            <pc:docMk/>
            <pc:sldMk cId="3476664425" sldId="310"/>
            <ac:cxnSpMk id="231" creationId="{143D0A43-AA81-6D7B-7786-B41351B91639}"/>
          </ac:cxnSpMkLst>
        </pc:cxnChg>
        <pc:cxnChg chg="mod ord">
          <ac:chgData name="Shawn Lee (UK)" userId="03222456-4c0b-46ad-acb4-22367bd0c05e" providerId="ADAL" clId="{0DB3D54B-15AC-4C22-98A4-738A26DC574F}" dt="2026-02-20T14:10:34.802" v="1904"/>
          <ac:cxnSpMkLst>
            <pc:docMk/>
            <pc:sldMk cId="3476664425" sldId="310"/>
            <ac:cxnSpMk id="232" creationId="{F3982AAF-C531-52BE-921C-BA204807EA7C}"/>
          </ac:cxnSpMkLst>
        </pc:cxnChg>
        <pc:cxnChg chg="mod ord">
          <ac:chgData name="Shawn Lee (UK)" userId="03222456-4c0b-46ad-acb4-22367bd0c05e" providerId="ADAL" clId="{0DB3D54B-15AC-4C22-98A4-738A26DC574F}" dt="2026-02-20T14:10:34.801" v="1900"/>
          <ac:cxnSpMkLst>
            <pc:docMk/>
            <pc:sldMk cId="3476664425" sldId="310"/>
            <ac:cxnSpMk id="233" creationId="{62107361-2DCC-EE44-5A75-1DC4ABAA4332}"/>
          </ac:cxnSpMkLst>
        </pc:cxnChg>
        <pc:cxnChg chg="mod ord">
          <ac:chgData name="Shawn Lee (UK)" userId="03222456-4c0b-46ad-acb4-22367bd0c05e" providerId="ADAL" clId="{0DB3D54B-15AC-4C22-98A4-738A26DC574F}" dt="2026-02-20T14:10:34.802" v="1906"/>
          <ac:cxnSpMkLst>
            <pc:docMk/>
            <pc:sldMk cId="3476664425" sldId="310"/>
            <ac:cxnSpMk id="234" creationId="{E674365E-1141-D02B-667D-BCA86FBB3816}"/>
          </ac:cxnSpMkLst>
        </pc:cxnChg>
      </pc:sldChg>
      <pc:sldChg chg="addSp delSp modSp mod">
        <pc:chgData name="Shawn Lee (UK)" userId="03222456-4c0b-46ad-acb4-22367bd0c05e" providerId="ADAL" clId="{0DB3D54B-15AC-4C22-98A4-738A26DC574F}" dt="2026-02-20T14:10:50.767" v="2051"/>
        <pc:sldMkLst>
          <pc:docMk/>
          <pc:sldMk cId="3257039012" sldId="311"/>
        </pc:sldMkLst>
        <pc:spChg chg="mod ord">
          <ac:chgData name="Shawn Lee (UK)" userId="03222456-4c0b-46ad-acb4-22367bd0c05e" providerId="ADAL" clId="{0DB3D54B-15AC-4C22-98A4-738A26DC574F}" dt="2026-02-20T14:10:50.755" v="2013"/>
          <ac:spMkLst>
            <pc:docMk/>
            <pc:sldMk cId="3257039012" sldId="311"/>
            <ac:spMk id="3" creationId="{9B6BE7D8-B376-ABAF-CFAF-1D9F168E3178}"/>
          </ac:spMkLst>
        </pc:spChg>
        <pc:spChg chg="mod">
          <ac:chgData name="Shawn Lee (UK)" userId="03222456-4c0b-46ad-acb4-22367bd0c05e" providerId="ADAL" clId="{0DB3D54B-15AC-4C22-98A4-738A26DC574F}" dt="2026-02-20T14:10:50.755" v="2014"/>
          <ac:spMkLst>
            <pc:docMk/>
            <pc:sldMk cId="3257039012" sldId="311"/>
            <ac:spMk id="5" creationId="{831C6FBF-6290-0DD0-96B3-C74AD94F3C52}"/>
          </ac:spMkLst>
        </pc:spChg>
        <pc:spChg chg="add del mod modVis">
          <ac:chgData name="Shawn Lee (UK)" userId="03222456-4c0b-46ad-acb4-22367bd0c05e" providerId="ADAL" clId="{0DB3D54B-15AC-4C22-98A4-738A26DC574F}" dt="2026-02-20T14:06:08.898" v="1091"/>
          <ac:spMkLst>
            <pc:docMk/>
            <pc:sldMk cId="3257039012" sldId="311"/>
            <ac:spMk id="6" creationId="{C6BFCE50-5B19-2839-C1A1-BD78CBB3A94C}"/>
          </ac:spMkLst>
        </pc:spChg>
        <pc:spChg chg="mod">
          <ac:chgData name="Shawn Lee (UK)" userId="03222456-4c0b-46ad-acb4-22367bd0c05e" providerId="ADAL" clId="{0DB3D54B-15AC-4C22-98A4-738A26DC574F}" dt="2026-02-20T14:10:50.757" v="2020"/>
          <ac:spMkLst>
            <pc:docMk/>
            <pc:sldMk cId="3257039012" sldId="311"/>
            <ac:spMk id="8" creationId="{0A618319-8AEC-D68E-4F6D-271D4B092454}"/>
          </ac:spMkLst>
        </pc:spChg>
        <pc:spChg chg="mod">
          <ac:chgData name="Shawn Lee (UK)" userId="03222456-4c0b-46ad-acb4-22367bd0c05e" providerId="ADAL" clId="{0DB3D54B-15AC-4C22-98A4-738A26DC574F}" dt="2026-02-20T14:10:50.757" v="2021"/>
          <ac:spMkLst>
            <pc:docMk/>
            <pc:sldMk cId="3257039012" sldId="311"/>
            <ac:spMk id="9" creationId="{93006A33-5833-D8BA-C368-06F1E16C245A}"/>
          </ac:spMkLst>
        </pc:spChg>
        <pc:spChg chg="mod">
          <ac:chgData name="Shawn Lee (UK)" userId="03222456-4c0b-46ad-acb4-22367bd0c05e" providerId="ADAL" clId="{0DB3D54B-15AC-4C22-98A4-738A26DC574F}" dt="2026-02-20T14:10:50.757" v="2022"/>
          <ac:spMkLst>
            <pc:docMk/>
            <pc:sldMk cId="3257039012" sldId="311"/>
            <ac:spMk id="10" creationId="{8C17F6F8-E5D8-DF67-2C5E-73B6B9ECD3E9}"/>
          </ac:spMkLst>
        </pc:spChg>
        <pc:spChg chg="add del mod modVis">
          <ac:chgData name="Shawn Lee (UK)" userId="03222456-4c0b-46ad-acb4-22367bd0c05e" providerId="ADAL" clId="{0DB3D54B-15AC-4C22-98A4-738A26DC574F}" dt="2026-02-20T14:10:50.767" v="2049"/>
          <ac:spMkLst>
            <pc:docMk/>
            <pc:sldMk cId="3257039012" sldId="311"/>
            <ac:spMk id="11" creationId="{8FBF2331-8A12-1279-B0FC-19D0AF94C1CD}"/>
          </ac:spMkLst>
        </pc:spChg>
        <pc:spChg chg="mod">
          <ac:chgData name="Shawn Lee (UK)" userId="03222456-4c0b-46ad-acb4-22367bd0c05e" providerId="ADAL" clId="{0DB3D54B-15AC-4C22-98A4-738A26DC574F}" dt="2026-02-20T14:10:50.757" v="2023"/>
          <ac:spMkLst>
            <pc:docMk/>
            <pc:sldMk cId="3257039012" sldId="311"/>
            <ac:spMk id="21" creationId="{6E696BB9-480F-F281-500B-AFAD3106863F}"/>
          </ac:spMkLst>
        </pc:spChg>
        <pc:spChg chg="mod">
          <ac:chgData name="Shawn Lee (UK)" userId="03222456-4c0b-46ad-acb4-22367bd0c05e" providerId="ADAL" clId="{0DB3D54B-15AC-4C22-98A4-738A26DC574F}" dt="2026-02-20T14:10:50.759" v="2024"/>
          <ac:spMkLst>
            <pc:docMk/>
            <pc:sldMk cId="3257039012" sldId="311"/>
            <ac:spMk id="22" creationId="{5D25AF49-4D52-9BA3-7514-88EFEAC89773}"/>
          </ac:spMkLst>
        </pc:spChg>
        <pc:spChg chg="mod">
          <ac:chgData name="Shawn Lee (UK)" userId="03222456-4c0b-46ad-acb4-22367bd0c05e" providerId="ADAL" clId="{0DB3D54B-15AC-4C22-98A4-738A26DC574F}" dt="2026-02-20T14:10:50.759" v="2025"/>
          <ac:spMkLst>
            <pc:docMk/>
            <pc:sldMk cId="3257039012" sldId="311"/>
            <ac:spMk id="23" creationId="{28071AB2-4DF6-7EC0-4E4A-6357246D1515}"/>
          </ac:spMkLst>
        </pc:spChg>
        <pc:spChg chg="mod">
          <ac:chgData name="Shawn Lee (UK)" userId="03222456-4c0b-46ad-acb4-22367bd0c05e" providerId="ADAL" clId="{0DB3D54B-15AC-4C22-98A4-738A26DC574F}" dt="2026-02-20T14:10:50.760" v="2026"/>
          <ac:spMkLst>
            <pc:docMk/>
            <pc:sldMk cId="3257039012" sldId="311"/>
            <ac:spMk id="24" creationId="{99D9FE81-8EA3-F8B5-9EC2-FFD3D9230448}"/>
          </ac:spMkLst>
        </pc:spChg>
        <pc:spChg chg="mod">
          <ac:chgData name="Shawn Lee (UK)" userId="03222456-4c0b-46ad-acb4-22367bd0c05e" providerId="ADAL" clId="{0DB3D54B-15AC-4C22-98A4-738A26DC574F}" dt="2026-02-20T14:10:50.760" v="2027"/>
          <ac:spMkLst>
            <pc:docMk/>
            <pc:sldMk cId="3257039012" sldId="311"/>
            <ac:spMk id="25" creationId="{891FF9BD-837F-3805-E52C-B3D601857979}"/>
          </ac:spMkLst>
        </pc:spChg>
        <pc:spChg chg="mod">
          <ac:chgData name="Shawn Lee (UK)" userId="03222456-4c0b-46ad-acb4-22367bd0c05e" providerId="ADAL" clId="{0DB3D54B-15AC-4C22-98A4-738A26DC574F}" dt="2026-02-20T14:10:50.762" v="2028"/>
          <ac:spMkLst>
            <pc:docMk/>
            <pc:sldMk cId="3257039012" sldId="311"/>
            <ac:spMk id="26" creationId="{E37AB6C3-7949-3A91-DD70-C5ED93F6E84C}"/>
          </ac:spMkLst>
        </pc:spChg>
        <pc:spChg chg="mod">
          <ac:chgData name="Shawn Lee (UK)" userId="03222456-4c0b-46ad-acb4-22367bd0c05e" providerId="ADAL" clId="{0DB3D54B-15AC-4C22-98A4-738A26DC574F}" dt="2026-02-20T14:10:50.762" v="2029"/>
          <ac:spMkLst>
            <pc:docMk/>
            <pc:sldMk cId="3257039012" sldId="311"/>
            <ac:spMk id="27" creationId="{39FC4D74-7EDE-F673-D63F-3378D6D94299}"/>
          </ac:spMkLst>
        </pc:spChg>
        <pc:spChg chg="mod">
          <ac:chgData name="Shawn Lee (UK)" userId="03222456-4c0b-46ad-acb4-22367bd0c05e" providerId="ADAL" clId="{0DB3D54B-15AC-4C22-98A4-738A26DC574F}" dt="2026-02-20T14:10:50.762" v="2030"/>
          <ac:spMkLst>
            <pc:docMk/>
            <pc:sldMk cId="3257039012" sldId="311"/>
            <ac:spMk id="28" creationId="{11128CA5-F89E-3A58-78FA-967D1FD31C36}"/>
          </ac:spMkLst>
        </pc:spChg>
        <pc:spChg chg="mod">
          <ac:chgData name="Shawn Lee (UK)" userId="03222456-4c0b-46ad-acb4-22367bd0c05e" providerId="ADAL" clId="{0DB3D54B-15AC-4C22-98A4-738A26DC574F}" dt="2026-02-20T14:10:50.762" v="2031"/>
          <ac:spMkLst>
            <pc:docMk/>
            <pc:sldMk cId="3257039012" sldId="311"/>
            <ac:spMk id="29" creationId="{255996F3-A2C3-7D91-AB4D-EC671538BFC5}"/>
          </ac:spMkLst>
        </pc:spChg>
        <pc:spChg chg="mod">
          <ac:chgData name="Shawn Lee (UK)" userId="03222456-4c0b-46ad-acb4-22367bd0c05e" providerId="ADAL" clId="{0DB3D54B-15AC-4C22-98A4-738A26DC574F}" dt="2026-02-20T14:10:50.762" v="2032"/>
          <ac:spMkLst>
            <pc:docMk/>
            <pc:sldMk cId="3257039012" sldId="311"/>
            <ac:spMk id="30" creationId="{F2669C8E-3890-13C6-EF29-C81680A39709}"/>
          </ac:spMkLst>
        </pc:spChg>
        <pc:spChg chg="mod">
          <ac:chgData name="Shawn Lee (UK)" userId="03222456-4c0b-46ad-acb4-22367bd0c05e" providerId="ADAL" clId="{0DB3D54B-15AC-4C22-98A4-738A26DC574F}" dt="2026-02-20T14:10:50.762" v="2033"/>
          <ac:spMkLst>
            <pc:docMk/>
            <pc:sldMk cId="3257039012" sldId="311"/>
            <ac:spMk id="31" creationId="{64891BF8-FA1C-FDA2-7F11-DF50C55FE944}"/>
          </ac:spMkLst>
        </pc:spChg>
        <pc:spChg chg="mod">
          <ac:chgData name="Shawn Lee (UK)" userId="03222456-4c0b-46ad-acb4-22367bd0c05e" providerId="ADAL" clId="{0DB3D54B-15AC-4C22-98A4-738A26DC574F}" dt="2026-02-20T14:10:50.763" v="2034"/>
          <ac:spMkLst>
            <pc:docMk/>
            <pc:sldMk cId="3257039012" sldId="311"/>
            <ac:spMk id="32" creationId="{9F8E3E99-2646-B0B0-0815-70F1A56D05C9}"/>
          </ac:spMkLst>
        </pc:spChg>
        <pc:spChg chg="mod">
          <ac:chgData name="Shawn Lee (UK)" userId="03222456-4c0b-46ad-acb4-22367bd0c05e" providerId="ADAL" clId="{0DB3D54B-15AC-4C22-98A4-738A26DC574F}" dt="2026-02-20T14:10:50.763" v="2035"/>
          <ac:spMkLst>
            <pc:docMk/>
            <pc:sldMk cId="3257039012" sldId="311"/>
            <ac:spMk id="40" creationId="{B6229DC2-8A19-68ED-F92C-DCF2C159C3D3}"/>
          </ac:spMkLst>
        </pc:spChg>
        <pc:spChg chg="mod">
          <ac:chgData name="Shawn Lee (UK)" userId="03222456-4c0b-46ad-acb4-22367bd0c05e" providerId="ADAL" clId="{0DB3D54B-15AC-4C22-98A4-738A26DC574F}" dt="2026-02-20T14:10:50.757" v="2019"/>
          <ac:spMkLst>
            <pc:docMk/>
            <pc:sldMk cId="3257039012" sldId="311"/>
            <ac:spMk id="53" creationId="{C391C791-E437-31ED-6FD7-2BBB0BC903C5}"/>
          </ac:spMkLst>
        </pc:spChg>
        <pc:spChg chg="mod">
          <ac:chgData name="Shawn Lee (UK)" userId="03222456-4c0b-46ad-acb4-22367bd0c05e" providerId="ADAL" clId="{0DB3D54B-15AC-4C22-98A4-738A26DC574F}" dt="2026-02-20T14:10:50.766" v="2045"/>
          <ac:spMkLst>
            <pc:docMk/>
            <pc:sldMk cId="3257039012" sldId="311"/>
            <ac:spMk id="214" creationId="{ADE2F6B3-CB22-3F7E-DA55-6E82E5F6FAA6}"/>
          </ac:spMkLst>
        </pc:spChg>
        <pc:spChg chg="mod">
          <ac:chgData name="Shawn Lee (UK)" userId="03222456-4c0b-46ad-acb4-22367bd0c05e" providerId="ADAL" clId="{0DB3D54B-15AC-4C22-98A4-738A26DC574F}" dt="2026-02-20T14:10:50.765" v="2044"/>
          <ac:spMkLst>
            <pc:docMk/>
            <pc:sldMk cId="3257039012" sldId="311"/>
            <ac:spMk id="216" creationId="{AF0F2C98-2E21-54ED-1933-4E7ED41088FF}"/>
          </ac:spMkLst>
        </pc:spChg>
        <pc:spChg chg="mod">
          <ac:chgData name="Shawn Lee (UK)" userId="03222456-4c0b-46ad-acb4-22367bd0c05e" providerId="ADAL" clId="{0DB3D54B-15AC-4C22-98A4-738A26DC574F}" dt="2026-02-20T14:10:50.766" v="2046"/>
          <ac:spMkLst>
            <pc:docMk/>
            <pc:sldMk cId="3257039012" sldId="311"/>
            <ac:spMk id="217" creationId="{1E453B2F-3CA8-8A4F-4D60-AB74ED86D6B4}"/>
          </ac:spMkLst>
        </pc:spChg>
        <pc:spChg chg="mod">
          <ac:chgData name="Shawn Lee (UK)" userId="03222456-4c0b-46ad-acb4-22367bd0c05e" providerId="ADAL" clId="{0DB3D54B-15AC-4C22-98A4-738A26DC574F}" dt="2026-02-20T14:10:50.766" v="2047"/>
          <ac:spMkLst>
            <pc:docMk/>
            <pc:sldMk cId="3257039012" sldId="311"/>
            <ac:spMk id="218" creationId="{B5E67CA7-F526-2479-BF69-EB250A349A87}"/>
          </ac:spMkLst>
        </pc:spChg>
        <pc:spChg chg="mod ord">
          <ac:chgData name="Shawn Lee (UK)" userId="03222456-4c0b-46ad-acb4-22367bd0c05e" providerId="ADAL" clId="{0DB3D54B-15AC-4C22-98A4-738A26DC574F}" dt="2026-02-20T14:10:50.764" v="2037"/>
          <ac:spMkLst>
            <pc:docMk/>
            <pc:sldMk cId="3257039012" sldId="311"/>
            <ac:spMk id="220" creationId="{FF97D6AD-B60A-D14F-83FA-E60A6DFF68DC}"/>
          </ac:spMkLst>
        </pc:spChg>
        <pc:spChg chg="mod ord">
          <ac:chgData name="Shawn Lee (UK)" userId="03222456-4c0b-46ad-acb4-22367bd0c05e" providerId="ADAL" clId="{0DB3D54B-15AC-4C22-98A4-738A26DC574F}" dt="2026-02-20T14:10:50.764" v="2039"/>
          <ac:spMkLst>
            <pc:docMk/>
            <pc:sldMk cId="3257039012" sldId="311"/>
            <ac:spMk id="221" creationId="{85BDD98B-4B31-4748-5016-EA61D183479E}"/>
          </ac:spMkLst>
        </pc:spChg>
        <pc:spChg chg="mod ord">
          <ac:chgData name="Shawn Lee (UK)" userId="03222456-4c0b-46ad-acb4-22367bd0c05e" providerId="ADAL" clId="{0DB3D54B-15AC-4C22-98A4-738A26DC574F}" dt="2026-02-20T14:10:50.765" v="2041"/>
          <ac:spMkLst>
            <pc:docMk/>
            <pc:sldMk cId="3257039012" sldId="311"/>
            <ac:spMk id="222" creationId="{B8A826AD-FA22-5CC5-145E-71A98F7546C8}"/>
          </ac:spMkLst>
        </pc:spChg>
        <pc:spChg chg="mod ord">
          <ac:chgData name="Shawn Lee (UK)" userId="03222456-4c0b-46ad-acb4-22367bd0c05e" providerId="ADAL" clId="{0DB3D54B-15AC-4C22-98A4-738A26DC574F}" dt="2026-02-20T14:10:50.765" v="2043"/>
          <ac:spMkLst>
            <pc:docMk/>
            <pc:sldMk cId="3257039012" sldId="311"/>
            <ac:spMk id="223" creationId="{40171FDE-781C-6610-111D-CF81E2DD68FB}"/>
          </ac:spMkLst>
        </pc:spChg>
        <pc:graphicFrameChg chg="mod">
          <ac:chgData name="Shawn Lee (UK)" userId="03222456-4c0b-46ad-acb4-22367bd0c05e" providerId="ADAL" clId="{0DB3D54B-15AC-4C22-98A4-738A26DC574F}" dt="2026-02-20T14:10:50.767" v="2051"/>
          <ac:graphicFrameMkLst>
            <pc:docMk/>
            <pc:sldMk cId="3257039012" sldId="311"/>
            <ac:graphicFrameMk id="4" creationId="{6CB6C46A-764A-99EE-FB9A-98546633B467}"/>
          </ac:graphicFrameMkLst>
        </pc:graphicFrameChg>
        <pc:graphicFrameChg chg="add del mod ord">
          <ac:chgData name="Shawn Lee (UK)" userId="03222456-4c0b-46ad-acb4-22367bd0c05e" providerId="ADAL" clId="{0DB3D54B-15AC-4C22-98A4-738A26DC574F}" dt="2026-02-20T14:10:50.734" v="1990"/>
          <ac:graphicFrameMkLst>
            <pc:docMk/>
            <pc:sldMk cId="3257039012" sldId="311"/>
            <ac:graphicFrameMk id="7" creationId="{39B7CBA5-198F-C003-E4D4-29EE201E2DD4}"/>
          </ac:graphicFrameMkLst>
        </pc:graphicFrameChg>
        <pc:graphicFrameChg chg="add mod ord">
          <ac:chgData name="Shawn Lee (UK)" userId="03222456-4c0b-46ad-acb4-22367bd0c05e" providerId="ADAL" clId="{0DB3D54B-15AC-4C22-98A4-738A26DC574F}" dt="2026-02-20T14:10:50.757" v="2018"/>
          <ac:graphicFrameMkLst>
            <pc:docMk/>
            <pc:sldMk cId="3257039012" sldId="311"/>
            <ac:graphicFrameMk id="12" creationId="{A2E043BB-610E-3921-FE3D-1961FD0ABD42}"/>
          </ac:graphicFrameMkLst>
        </pc:graphicFrameChg>
        <pc:graphicFrameChg chg="del">
          <ac:chgData name="Shawn Lee (UK)" userId="03222456-4c0b-46ad-acb4-22367bd0c05e" providerId="ADAL" clId="{0DB3D54B-15AC-4C22-98A4-738A26DC574F}" dt="2026-02-20T14:06:08.854" v="1032"/>
          <ac:graphicFrameMkLst>
            <pc:docMk/>
            <pc:sldMk cId="3257039012" sldId="311"/>
            <ac:graphicFrameMk id="255" creationId="{1018446C-1DAB-9ECC-81CC-2E8990B4A681}"/>
          </ac:graphicFrameMkLst>
        </pc:graphicFrameChg>
        <pc:picChg chg="mod ord">
          <ac:chgData name="Shawn Lee (UK)" userId="03222456-4c0b-46ad-acb4-22367bd0c05e" providerId="ADAL" clId="{0DB3D54B-15AC-4C22-98A4-738A26DC574F}" dt="2026-02-20T14:10:50.755" v="2016"/>
          <ac:picMkLst>
            <pc:docMk/>
            <pc:sldMk cId="3257039012" sldId="311"/>
            <ac:picMk id="2" creationId="{07F14DAF-7817-62A3-B5BE-93615F0E114D}"/>
          </ac:picMkLst>
        </pc:picChg>
      </pc:sldChg>
      <pc:sldChg chg="addSp delSp modSp mod">
        <pc:chgData name="Shawn Lee (UK)" userId="03222456-4c0b-46ad-acb4-22367bd0c05e" providerId="ADAL" clId="{0DB3D54B-15AC-4C22-98A4-738A26DC574F}" dt="2026-02-20T14:13:13.450" v="2762"/>
        <pc:sldMkLst>
          <pc:docMk/>
          <pc:sldMk cId="4167616451" sldId="312"/>
        </pc:sldMkLst>
        <pc:spChg chg="mod ord">
          <ac:chgData name="Shawn Lee (UK)" userId="03222456-4c0b-46ad-acb4-22367bd0c05e" providerId="ADAL" clId="{0DB3D54B-15AC-4C22-98A4-738A26DC574F}" dt="2026-02-20T14:13:13.412" v="2685"/>
          <ac:spMkLst>
            <pc:docMk/>
            <pc:sldMk cId="4167616451" sldId="312"/>
            <ac:spMk id="3" creationId="{D3BB0EEF-497B-7427-0DEC-DB9C72724A5F}"/>
          </ac:spMkLst>
        </pc:spChg>
        <pc:spChg chg="mod">
          <ac:chgData name="Shawn Lee (UK)" userId="03222456-4c0b-46ad-acb4-22367bd0c05e" providerId="ADAL" clId="{0DB3D54B-15AC-4C22-98A4-738A26DC574F}" dt="2026-02-20T14:13:13.412" v="2686"/>
          <ac:spMkLst>
            <pc:docMk/>
            <pc:sldMk cId="4167616451" sldId="312"/>
            <ac:spMk id="5" creationId="{531CD6A6-878E-7856-B3FA-86AC0EA3CEC5}"/>
          </ac:spMkLst>
        </pc:spChg>
        <pc:spChg chg="add mod">
          <ac:chgData name="Shawn Lee (UK)" userId="03222456-4c0b-46ad-acb4-22367bd0c05e" providerId="ADAL" clId="{0DB3D54B-15AC-4C22-98A4-738A26DC574F}" dt="2026-02-20T14:13:13.425" v="2706"/>
          <ac:spMkLst>
            <pc:docMk/>
            <pc:sldMk cId="4167616451" sldId="312"/>
            <ac:spMk id="6" creationId="{87F3A83D-2868-80C4-477C-623981F26698}"/>
          </ac:spMkLst>
        </pc:spChg>
        <pc:spChg chg="add del mod modVis">
          <ac:chgData name="Shawn Lee (UK)" userId="03222456-4c0b-46ad-acb4-22367bd0c05e" providerId="ADAL" clId="{0DB3D54B-15AC-4C22-98A4-738A26DC574F}" dt="2026-02-20T14:06:20.542" v="1831"/>
          <ac:spMkLst>
            <pc:docMk/>
            <pc:sldMk cId="4167616451" sldId="312"/>
            <ac:spMk id="7" creationId="{DD321DEF-3E83-CA6F-63A3-398D88CA6857}"/>
          </ac:spMkLst>
        </pc:spChg>
        <pc:spChg chg="mod">
          <ac:chgData name="Shawn Lee (UK)" userId="03222456-4c0b-46ad-acb4-22367bd0c05e" providerId="ADAL" clId="{0DB3D54B-15AC-4C22-98A4-738A26DC574F}" dt="2026-02-20T14:13:13.412" v="2691"/>
          <ac:spMkLst>
            <pc:docMk/>
            <pc:sldMk cId="4167616451" sldId="312"/>
            <ac:spMk id="8" creationId="{AFFE2DA0-1A16-FB5B-CB8C-0CAC55C99B1E}"/>
          </ac:spMkLst>
        </pc:spChg>
        <pc:spChg chg="mod">
          <ac:chgData name="Shawn Lee (UK)" userId="03222456-4c0b-46ad-acb4-22367bd0c05e" providerId="ADAL" clId="{0DB3D54B-15AC-4C22-98A4-738A26DC574F}" dt="2026-02-20T14:13:13.412" v="2692"/>
          <ac:spMkLst>
            <pc:docMk/>
            <pc:sldMk cId="4167616451" sldId="312"/>
            <ac:spMk id="9" creationId="{F67F8CDC-B2CE-35E8-5056-848E9916F1AA}"/>
          </ac:spMkLst>
        </pc:spChg>
        <pc:spChg chg="mod">
          <ac:chgData name="Shawn Lee (UK)" userId="03222456-4c0b-46ad-acb4-22367bd0c05e" providerId="ADAL" clId="{0DB3D54B-15AC-4C22-98A4-738A26DC574F}" dt="2026-02-20T14:13:13.412" v="2693"/>
          <ac:spMkLst>
            <pc:docMk/>
            <pc:sldMk cId="4167616451" sldId="312"/>
            <ac:spMk id="10" creationId="{8C154D4C-1145-7FE6-7A62-5A65D0487C3F}"/>
          </ac:spMkLst>
        </pc:spChg>
        <pc:spChg chg="add mod ord">
          <ac:chgData name="Shawn Lee (UK)" userId="03222456-4c0b-46ad-acb4-22367bd0c05e" providerId="ADAL" clId="{0DB3D54B-15AC-4C22-98A4-738A26DC574F}" dt="2026-02-20T14:13:13.425" v="2719"/>
          <ac:spMkLst>
            <pc:docMk/>
            <pc:sldMk cId="4167616451" sldId="312"/>
            <ac:spMk id="11" creationId="{CBF95258-4BC2-F013-139E-AC9C8E1FB807}"/>
          </ac:spMkLst>
        </pc:spChg>
        <pc:spChg chg="add mod ord">
          <ac:chgData name="Shawn Lee (UK)" userId="03222456-4c0b-46ad-acb4-22367bd0c05e" providerId="ADAL" clId="{0DB3D54B-15AC-4C22-98A4-738A26DC574F}" dt="2026-02-20T14:13:13.425" v="2725"/>
          <ac:spMkLst>
            <pc:docMk/>
            <pc:sldMk cId="4167616451" sldId="312"/>
            <ac:spMk id="12" creationId="{4A7E273F-8E7C-1848-171A-6D42585C3D05}"/>
          </ac:spMkLst>
        </pc:spChg>
        <pc:spChg chg="add mod ord">
          <ac:chgData name="Shawn Lee (UK)" userId="03222456-4c0b-46ad-acb4-22367bd0c05e" providerId="ADAL" clId="{0DB3D54B-15AC-4C22-98A4-738A26DC574F}" dt="2026-02-20T14:13:13.442" v="2745"/>
          <ac:spMkLst>
            <pc:docMk/>
            <pc:sldMk cId="4167616451" sldId="312"/>
            <ac:spMk id="13" creationId="{67492DA0-5403-C0D2-9934-BDFE0726C8D9}"/>
          </ac:spMkLst>
        </pc:spChg>
        <pc:spChg chg="add del mod modVis">
          <ac:chgData name="Shawn Lee (UK)" userId="03222456-4c0b-46ad-acb4-22367bd0c05e" providerId="ADAL" clId="{0DB3D54B-15AC-4C22-98A4-738A26DC574F}" dt="2026-02-20T14:11:01.245" v="2139" actId="962"/>
          <ac:spMkLst>
            <pc:docMk/>
            <pc:sldMk cId="4167616451" sldId="312"/>
            <ac:spMk id="15" creationId="{7B931273-973A-4B33-AEB3-0AACFD7CE29C}"/>
          </ac:spMkLst>
        </pc:spChg>
        <pc:spChg chg="add del mod modVis">
          <ac:chgData name="Shawn Lee (UK)" userId="03222456-4c0b-46ad-acb4-22367bd0c05e" providerId="ADAL" clId="{0DB3D54B-15AC-4C22-98A4-738A26DC574F}" dt="2026-02-20T14:11:00.739" v="2119" actId="962"/>
          <ac:spMkLst>
            <pc:docMk/>
            <pc:sldMk cId="4167616451" sldId="312"/>
            <ac:spMk id="16" creationId="{BAC65F20-2A3F-FB11-78D5-4A06EEA04BE9}"/>
          </ac:spMkLst>
        </pc:spChg>
        <pc:spChg chg="mod ord">
          <ac:chgData name="Shawn Lee (UK)" userId="03222456-4c0b-46ad-acb4-22367bd0c05e" providerId="ADAL" clId="{0DB3D54B-15AC-4C22-98A4-738A26DC574F}" dt="2026-02-20T14:13:13.425" v="2710"/>
          <ac:spMkLst>
            <pc:docMk/>
            <pc:sldMk cId="4167616451" sldId="312"/>
            <ac:spMk id="17" creationId="{17882BD1-0789-96A6-E826-8EDEFB97A5F7}"/>
          </ac:spMkLst>
        </pc:spChg>
        <pc:spChg chg="add del mod modVis">
          <ac:chgData name="Shawn Lee (UK)" userId="03222456-4c0b-46ad-acb4-22367bd0c05e" providerId="ADAL" clId="{0DB3D54B-15AC-4C22-98A4-738A26DC574F}" dt="2026-02-20T14:11:03.397" v="2183"/>
          <ac:spMkLst>
            <pc:docMk/>
            <pc:sldMk cId="4167616451" sldId="312"/>
            <ac:spMk id="18" creationId="{B5D7B191-591A-74A7-0982-BA01903F3FF8}"/>
          </ac:spMkLst>
        </pc:spChg>
        <pc:spChg chg="add del mod modVis">
          <ac:chgData name="Shawn Lee (UK)" userId="03222456-4c0b-46ad-acb4-22367bd0c05e" providerId="ADAL" clId="{0DB3D54B-15AC-4C22-98A4-738A26DC574F}" dt="2026-02-20T14:11:04.712" v="2215"/>
          <ac:spMkLst>
            <pc:docMk/>
            <pc:sldMk cId="4167616451" sldId="312"/>
            <ac:spMk id="19" creationId="{B6476802-3478-2CC9-D7D6-4F5880417351}"/>
          </ac:spMkLst>
        </pc:spChg>
        <pc:spChg chg="mod ord">
          <ac:chgData name="Shawn Lee (UK)" userId="03222456-4c0b-46ad-acb4-22367bd0c05e" providerId="ADAL" clId="{0DB3D54B-15AC-4C22-98A4-738A26DC574F}" dt="2026-02-20T14:13:13.445" v="2749"/>
          <ac:spMkLst>
            <pc:docMk/>
            <pc:sldMk cId="4167616451" sldId="312"/>
            <ac:spMk id="20" creationId="{79ACFEA6-BF51-081B-E7A0-4167D6E67A2F}"/>
          </ac:spMkLst>
        </pc:spChg>
        <pc:spChg chg="mod">
          <ac:chgData name="Shawn Lee (UK)" userId="03222456-4c0b-46ad-acb4-22367bd0c05e" providerId="ADAL" clId="{0DB3D54B-15AC-4C22-98A4-738A26DC574F}" dt="2026-02-20T14:13:13.412" v="2694"/>
          <ac:spMkLst>
            <pc:docMk/>
            <pc:sldMk cId="4167616451" sldId="312"/>
            <ac:spMk id="21" creationId="{A6B4C358-5108-0817-55C3-B7280D4F270B}"/>
          </ac:spMkLst>
        </pc:spChg>
        <pc:spChg chg="mod">
          <ac:chgData name="Shawn Lee (UK)" userId="03222456-4c0b-46ad-acb4-22367bd0c05e" providerId="ADAL" clId="{0DB3D54B-15AC-4C22-98A4-738A26DC574F}" dt="2026-02-20T14:13:13.412" v="2695"/>
          <ac:spMkLst>
            <pc:docMk/>
            <pc:sldMk cId="4167616451" sldId="312"/>
            <ac:spMk id="22" creationId="{4CC96C58-EF3D-B04D-5501-45B8A02FFAAB}"/>
          </ac:spMkLst>
        </pc:spChg>
        <pc:spChg chg="mod">
          <ac:chgData name="Shawn Lee (UK)" userId="03222456-4c0b-46ad-acb4-22367bd0c05e" providerId="ADAL" clId="{0DB3D54B-15AC-4C22-98A4-738A26DC574F}" dt="2026-02-20T14:13:13.412" v="2696"/>
          <ac:spMkLst>
            <pc:docMk/>
            <pc:sldMk cId="4167616451" sldId="312"/>
            <ac:spMk id="23" creationId="{156BFC79-3A56-E624-C8B4-7F27EEF726AC}"/>
          </ac:spMkLst>
        </pc:spChg>
        <pc:spChg chg="mod">
          <ac:chgData name="Shawn Lee (UK)" userId="03222456-4c0b-46ad-acb4-22367bd0c05e" providerId="ADAL" clId="{0DB3D54B-15AC-4C22-98A4-738A26DC574F}" dt="2026-02-20T14:13:13.412" v="2697"/>
          <ac:spMkLst>
            <pc:docMk/>
            <pc:sldMk cId="4167616451" sldId="312"/>
            <ac:spMk id="24" creationId="{C40770E1-1B90-0F82-C036-2D7350B560FE}"/>
          </ac:spMkLst>
        </pc:spChg>
        <pc:spChg chg="mod">
          <ac:chgData name="Shawn Lee (UK)" userId="03222456-4c0b-46ad-acb4-22367bd0c05e" providerId="ADAL" clId="{0DB3D54B-15AC-4C22-98A4-738A26DC574F}" dt="2026-02-20T14:13:13.412" v="2698"/>
          <ac:spMkLst>
            <pc:docMk/>
            <pc:sldMk cId="4167616451" sldId="312"/>
            <ac:spMk id="25" creationId="{3961F911-9DF6-A0D0-9442-10340C8E0357}"/>
          </ac:spMkLst>
        </pc:spChg>
        <pc:spChg chg="mod">
          <ac:chgData name="Shawn Lee (UK)" userId="03222456-4c0b-46ad-acb4-22367bd0c05e" providerId="ADAL" clId="{0DB3D54B-15AC-4C22-98A4-738A26DC574F}" dt="2026-02-20T14:13:13.412" v="2699"/>
          <ac:spMkLst>
            <pc:docMk/>
            <pc:sldMk cId="4167616451" sldId="312"/>
            <ac:spMk id="26" creationId="{7F910943-0779-4372-D6FC-D2EFDCF14CF0}"/>
          </ac:spMkLst>
        </pc:spChg>
        <pc:spChg chg="mod">
          <ac:chgData name="Shawn Lee (UK)" userId="03222456-4c0b-46ad-acb4-22367bd0c05e" providerId="ADAL" clId="{0DB3D54B-15AC-4C22-98A4-738A26DC574F}" dt="2026-02-20T14:13:13.412" v="2700"/>
          <ac:spMkLst>
            <pc:docMk/>
            <pc:sldMk cId="4167616451" sldId="312"/>
            <ac:spMk id="27" creationId="{C5A5B482-FBB5-941E-D821-D5657C0FFF55}"/>
          </ac:spMkLst>
        </pc:spChg>
        <pc:spChg chg="mod">
          <ac:chgData name="Shawn Lee (UK)" userId="03222456-4c0b-46ad-acb4-22367bd0c05e" providerId="ADAL" clId="{0DB3D54B-15AC-4C22-98A4-738A26DC574F}" dt="2026-02-20T14:13:13.412" v="2701"/>
          <ac:spMkLst>
            <pc:docMk/>
            <pc:sldMk cId="4167616451" sldId="312"/>
            <ac:spMk id="28" creationId="{2487C394-D218-210C-D4D7-487A7B8D46AD}"/>
          </ac:spMkLst>
        </pc:spChg>
        <pc:spChg chg="mod">
          <ac:chgData name="Shawn Lee (UK)" userId="03222456-4c0b-46ad-acb4-22367bd0c05e" providerId="ADAL" clId="{0DB3D54B-15AC-4C22-98A4-738A26DC574F}" dt="2026-02-20T14:13:13.412" v="2702"/>
          <ac:spMkLst>
            <pc:docMk/>
            <pc:sldMk cId="4167616451" sldId="312"/>
            <ac:spMk id="29" creationId="{8DC09F74-18D9-18E9-146E-4BCB4DE98BB5}"/>
          </ac:spMkLst>
        </pc:spChg>
        <pc:spChg chg="mod">
          <ac:chgData name="Shawn Lee (UK)" userId="03222456-4c0b-46ad-acb4-22367bd0c05e" providerId="ADAL" clId="{0DB3D54B-15AC-4C22-98A4-738A26DC574F}" dt="2026-02-20T14:13:13.412" v="2703"/>
          <ac:spMkLst>
            <pc:docMk/>
            <pc:sldMk cId="4167616451" sldId="312"/>
            <ac:spMk id="30" creationId="{92222A23-69DE-84BD-C4FA-D72D8590B265}"/>
          </ac:spMkLst>
        </pc:spChg>
        <pc:spChg chg="mod">
          <ac:chgData name="Shawn Lee (UK)" userId="03222456-4c0b-46ad-acb4-22367bd0c05e" providerId="ADAL" clId="{0DB3D54B-15AC-4C22-98A4-738A26DC574F}" dt="2026-02-20T14:13:13.412" v="2704"/>
          <ac:spMkLst>
            <pc:docMk/>
            <pc:sldMk cId="4167616451" sldId="312"/>
            <ac:spMk id="31" creationId="{62FEAEEF-3507-9349-CBAD-9FBBE86707DA}"/>
          </ac:spMkLst>
        </pc:spChg>
        <pc:spChg chg="mod">
          <ac:chgData name="Shawn Lee (UK)" userId="03222456-4c0b-46ad-acb4-22367bd0c05e" providerId="ADAL" clId="{0DB3D54B-15AC-4C22-98A4-738A26DC574F}" dt="2026-02-20T14:13:13.412" v="2705"/>
          <ac:spMkLst>
            <pc:docMk/>
            <pc:sldMk cId="4167616451" sldId="312"/>
            <ac:spMk id="32" creationId="{CD9F8FB6-C655-3301-6B41-EE8E9EBB5D3C}"/>
          </ac:spMkLst>
        </pc:spChg>
        <pc:spChg chg="mod ord">
          <ac:chgData name="Shawn Lee (UK)" userId="03222456-4c0b-46ad-acb4-22367bd0c05e" providerId="ADAL" clId="{0DB3D54B-15AC-4C22-98A4-738A26DC574F}" dt="2026-02-20T14:13:13.425" v="2713"/>
          <ac:spMkLst>
            <pc:docMk/>
            <pc:sldMk cId="4167616451" sldId="312"/>
            <ac:spMk id="33" creationId="{FBD53F79-FB1A-2C21-0398-DED4554DEF2F}"/>
          </ac:spMkLst>
        </pc:spChg>
        <pc:spChg chg="mod ord">
          <ac:chgData name="Shawn Lee (UK)" userId="03222456-4c0b-46ad-acb4-22367bd0c05e" providerId="ADAL" clId="{0DB3D54B-15AC-4C22-98A4-738A26DC574F}" dt="2026-02-20T14:13:13.425" v="2715"/>
          <ac:spMkLst>
            <pc:docMk/>
            <pc:sldMk cId="4167616451" sldId="312"/>
            <ac:spMk id="34" creationId="{473B781B-5BDF-32DA-5A33-A2B9556550CE}"/>
          </ac:spMkLst>
        </pc:spChg>
        <pc:spChg chg="mod ord">
          <ac:chgData name="Shawn Lee (UK)" userId="03222456-4c0b-46ad-acb4-22367bd0c05e" providerId="ADAL" clId="{0DB3D54B-15AC-4C22-98A4-738A26DC574F}" dt="2026-02-20T14:13:13.425" v="2717"/>
          <ac:spMkLst>
            <pc:docMk/>
            <pc:sldMk cId="4167616451" sldId="312"/>
            <ac:spMk id="35" creationId="{009D78EC-73F7-6FC1-05EC-CC1CAFD16405}"/>
          </ac:spMkLst>
        </pc:spChg>
        <pc:spChg chg="add del mod">
          <ac:chgData name="Shawn Lee (UK)" userId="03222456-4c0b-46ad-acb4-22367bd0c05e" providerId="ADAL" clId="{0DB3D54B-15AC-4C22-98A4-738A26DC574F}" dt="2026-02-20T14:13:13.373" v="2647"/>
          <ac:spMkLst>
            <pc:docMk/>
            <pc:sldMk cId="4167616451" sldId="312"/>
            <ac:spMk id="36" creationId="{F8EC464C-526C-FFB9-8CBE-97CD1779DBB6}"/>
          </ac:spMkLst>
        </pc:spChg>
        <pc:spChg chg="mod ord">
          <ac:chgData name="Shawn Lee (UK)" userId="03222456-4c0b-46ad-acb4-22367bd0c05e" providerId="ADAL" clId="{0DB3D54B-15AC-4C22-98A4-738A26DC574F}" dt="2026-02-20T14:13:13.425" v="2721"/>
          <ac:spMkLst>
            <pc:docMk/>
            <pc:sldMk cId="4167616451" sldId="312"/>
            <ac:spMk id="37" creationId="{0D911216-6F7B-9D9A-F59B-7708F9E316B1}"/>
          </ac:spMkLst>
        </pc:spChg>
        <pc:spChg chg="mod ord">
          <ac:chgData name="Shawn Lee (UK)" userId="03222456-4c0b-46ad-acb4-22367bd0c05e" providerId="ADAL" clId="{0DB3D54B-15AC-4C22-98A4-738A26DC574F}" dt="2026-02-20T14:13:13.425" v="2723"/>
          <ac:spMkLst>
            <pc:docMk/>
            <pc:sldMk cId="4167616451" sldId="312"/>
            <ac:spMk id="38" creationId="{1EEEDD6F-5E1B-EEC1-5FA8-1205C683E1DE}"/>
          </ac:spMkLst>
        </pc:spChg>
        <pc:spChg chg="add del mod modVis">
          <ac:chgData name="Shawn Lee (UK)" userId="03222456-4c0b-46ad-acb4-22367bd0c05e" providerId="ADAL" clId="{0DB3D54B-15AC-4C22-98A4-738A26DC574F}" dt="2026-02-20T14:13:13.449" v="2760"/>
          <ac:spMkLst>
            <pc:docMk/>
            <pc:sldMk cId="4167616451" sldId="312"/>
            <ac:spMk id="39" creationId="{B019A7C7-D44B-C251-0F64-B566F28D7277}"/>
          </ac:spMkLst>
        </pc:spChg>
        <pc:spChg chg="add mod ord">
          <ac:chgData name="Shawn Lee (UK)" userId="03222456-4c0b-46ad-acb4-22367bd0c05e" providerId="ADAL" clId="{0DB3D54B-15AC-4C22-98A4-738A26DC574F}" dt="2026-02-20T14:13:13.443" v="2747"/>
          <ac:spMkLst>
            <pc:docMk/>
            <pc:sldMk cId="4167616451" sldId="312"/>
            <ac:spMk id="40" creationId="{AD105F86-895F-BD48-9572-42D9A394627C}"/>
          </ac:spMkLst>
        </pc:spChg>
        <pc:spChg chg="mod ord">
          <ac:chgData name="Shawn Lee (UK)" userId="03222456-4c0b-46ad-acb4-22367bd0c05e" providerId="ADAL" clId="{0DB3D54B-15AC-4C22-98A4-738A26DC574F}" dt="2026-02-20T14:13:13.425" v="2727"/>
          <ac:spMkLst>
            <pc:docMk/>
            <pc:sldMk cId="4167616451" sldId="312"/>
            <ac:spMk id="42" creationId="{35FD1977-FC15-EF53-4478-F3D0369B495A}"/>
          </ac:spMkLst>
        </pc:spChg>
        <pc:spChg chg="mod ord">
          <ac:chgData name="Shawn Lee (UK)" userId="03222456-4c0b-46ad-acb4-22367bd0c05e" providerId="ADAL" clId="{0DB3D54B-15AC-4C22-98A4-738A26DC574F}" dt="2026-02-20T14:13:13.425" v="2729"/>
          <ac:spMkLst>
            <pc:docMk/>
            <pc:sldMk cId="4167616451" sldId="312"/>
            <ac:spMk id="44" creationId="{C3252438-B855-D7D9-56B4-E50A422EAD54}"/>
          </ac:spMkLst>
        </pc:spChg>
        <pc:spChg chg="mod ord">
          <ac:chgData name="Shawn Lee (UK)" userId="03222456-4c0b-46ad-acb4-22367bd0c05e" providerId="ADAL" clId="{0DB3D54B-15AC-4C22-98A4-738A26DC574F}" dt="2026-02-20T14:13:13.425" v="2731"/>
          <ac:spMkLst>
            <pc:docMk/>
            <pc:sldMk cId="4167616451" sldId="312"/>
            <ac:spMk id="47" creationId="{05471F71-7170-3291-E67C-216FBA151681}"/>
          </ac:spMkLst>
        </pc:spChg>
        <pc:spChg chg="mod ord">
          <ac:chgData name="Shawn Lee (UK)" userId="03222456-4c0b-46ad-acb4-22367bd0c05e" providerId="ADAL" clId="{0DB3D54B-15AC-4C22-98A4-738A26DC574F}" dt="2026-02-20T14:13:13.425" v="2733"/>
          <ac:spMkLst>
            <pc:docMk/>
            <pc:sldMk cId="4167616451" sldId="312"/>
            <ac:spMk id="48" creationId="{E7077707-11CB-6D27-0A0C-CCFEEDE1D34C}"/>
          </ac:spMkLst>
        </pc:spChg>
        <pc:spChg chg="mod ord">
          <ac:chgData name="Shawn Lee (UK)" userId="03222456-4c0b-46ad-acb4-22367bd0c05e" providerId="ADAL" clId="{0DB3D54B-15AC-4C22-98A4-738A26DC574F}" dt="2026-02-20T14:13:13.425" v="2735"/>
          <ac:spMkLst>
            <pc:docMk/>
            <pc:sldMk cId="4167616451" sldId="312"/>
            <ac:spMk id="50" creationId="{3E7B3254-32FD-AFB2-7CE9-17C48A54E84C}"/>
          </ac:spMkLst>
        </pc:spChg>
        <pc:spChg chg="mod ord">
          <ac:chgData name="Shawn Lee (UK)" userId="03222456-4c0b-46ad-acb4-22367bd0c05e" providerId="ADAL" clId="{0DB3D54B-15AC-4C22-98A4-738A26DC574F}" dt="2026-02-20T14:13:13.425" v="2737"/>
          <ac:spMkLst>
            <pc:docMk/>
            <pc:sldMk cId="4167616451" sldId="312"/>
            <ac:spMk id="52" creationId="{DC6450C6-C664-6D04-3A24-D03E51C2390C}"/>
          </ac:spMkLst>
        </pc:spChg>
        <pc:spChg chg="mod">
          <ac:chgData name="Shawn Lee (UK)" userId="03222456-4c0b-46ad-acb4-22367bd0c05e" providerId="ADAL" clId="{0DB3D54B-15AC-4C22-98A4-738A26DC574F}" dt="2026-02-20T14:13:13.425" v="2711"/>
          <ac:spMkLst>
            <pc:docMk/>
            <pc:sldMk cId="4167616451" sldId="312"/>
            <ac:spMk id="53" creationId="{3DAF6816-D1AF-E72B-E717-59186F99F51E}"/>
          </ac:spMkLst>
        </pc:spChg>
        <pc:spChg chg="mod ord">
          <ac:chgData name="Shawn Lee (UK)" userId="03222456-4c0b-46ad-acb4-22367bd0c05e" providerId="ADAL" clId="{0DB3D54B-15AC-4C22-98A4-738A26DC574F}" dt="2026-02-20T14:13:13.441" v="2739"/>
          <ac:spMkLst>
            <pc:docMk/>
            <pc:sldMk cId="4167616451" sldId="312"/>
            <ac:spMk id="54" creationId="{75FD5DC4-0C0E-1191-9FC5-53DF4F924BA1}"/>
          </ac:spMkLst>
        </pc:spChg>
        <pc:spChg chg="mod ord">
          <ac:chgData name="Shawn Lee (UK)" userId="03222456-4c0b-46ad-acb4-22367bd0c05e" providerId="ADAL" clId="{0DB3D54B-15AC-4C22-98A4-738A26DC574F}" dt="2026-02-20T14:13:13.441" v="2741"/>
          <ac:spMkLst>
            <pc:docMk/>
            <pc:sldMk cId="4167616451" sldId="312"/>
            <ac:spMk id="56" creationId="{ED2E6CAC-9EC0-4650-644B-199EDAF7206E}"/>
          </ac:spMkLst>
        </pc:spChg>
        <pc:spChg chg="mod ord">
          <ac:chgData name="Shawn Lee (UK)" userId="03222456-4c0b-46ad-acb4-22367bd0c05e" providerId="ADAL" clId="{0DB3D54B-15AC-4C22-98A4-738A26DC574F}" dt="2026-02-20T14:13:13.442" v="2743"/>
          <ac:spMkLst>
            <pc:docMk/>
            <pc:sldMk cId="4167616451" sldId="312"/>
            <ac:spMk id="57" creationId="{92574F5E-A85D-AB7B-DBCD-A5E13C65DE55}"/>
          </ac:spMkLst>
        </pc:spChg>
        <pc:spChg chg="mod">
          <ac:chgData name="Shawn Lee (UK)" userId="03222456-4c0b-46ad-acb4-22367bd0c05e" providerId="ADAL" clId="{0DB3D54B-15AC-4C22-98A4-738A26DC574F}" dt="2026-02-20T14:13:13.448" v="2757"/>
          <ac:spMkLst>
            <pc:docMk/>
            <pc:sldMk cId="4167616451" sldId="312"/>
            <ac:spMk id="214" creationId="{8FE03ABC-4835-969F-1C0B-A369F81E50EF}"/>
          </ac:spMkLst>
        </pc:spChg>
        <pc:spChg chg="mod">
          <ac:chgData name="Shawn Lee (UK)" userId="03222456-4c0b-46ad-acb4-22367bd0c05e" providerId="ADAL" clId="{0DB3D54B-15AC-4C22-98A4-738A26DC574F}" dt="2026-02-20T14:13:13.447" v="2756"/>
          <ac:spMkLst>
            <pc:docMk/>
            <pc:sldMk cId="4167616451" sldId="312"/>
            <ac:spMk id="216" creationId="{624F323D-64F3-6E86-3169-E14B1C029AC6}"/>
          </ac:spMkLst>
        </pc:spChg>
        <pc:spChg chg="mod">
          <ac:chgData name="Shawn Lee (UK)" userId="03222456-4c0b-46ad-acb4-22367bd0c05e" providerId="ADAL" clId="{0DB3D54B-15AC-4C22-98A4-738A26DC574F}" dt="2026-02-20T14:13:13.448" v="2758"/>
          <ac:spMkLst>
            <pc:docMk/>
            <pc:sldMk cId="4167616451" sldId="312"/>
            <ac:spMk id="217" creationId="{ED6A80E2-2D43-96A9-CC45-088D5D8668E7}"/>
          </ac:spMkLst>
        </pc:spChg>
        <pc:spChg chg="mod ord">
          <ac:chgData name="Shawn Lee (UK)" userId="03222456-4c0b-46ad-acb4-22367bd0c05e" providerId="ADAL" clId="{0DB3D54B-15AC-4C22-98A4-738A26DC574F}" dt="2026-02-20T14:13:13.446" v="2751"/>
          <ac:spMkLst>
            <pc:docMk/>
            <pc:sldMk cId="4167616451" sldId="312"/>
            <ac:spMk id="220" creationId="{C2F0CD16-FE1B-CE61-614E-7B545B5AE458}"/>
          </ac:spMkLst>
        </pc:spChg>
        <pc:spChg chg="mod ord">
          <ac:chgData name="Shawn Lee (UK)" userId="03222456-4c0b-46ad-acb4-22367bd0c05e" providerId="ADAL" clId="{0DB3D54B-15AC-4C22-98A4-738A26DC574F}" dt="2026-02-20T14:13:13.446" v="2753"/>
          <ac:spMkLst>
            <pc:docMk/>
            <pc:sldMk cId="4167616451" sldId="312"/>
            <ac:spMk id="221" creationId="{C83710D4-4FDA-A306-58EA-DEAD8A9B536F}"/>
          </ac:spMkLst>
        </pc:spChg>
        <pc:spChg chg="mod ord">
          <ac:chgData name="Shawn Lee (UK)" userId="03222456-4c0b-46ad-acb4-22367bd0c05e" providerId="ADAL" clId="{0DB3D54B-15AC-4C22-98A4-738A26DC574F}" dt="2026-02-20T14:13:13.447" v="2755"/>
          <ac:spMkLst>
            <pc:docMk/>
            <pc:sldMk cId="4167616451" sldId="312"/>
            <ac:spMk id="222" creationId="{8A69F25D-2B98-5808-751A-2794A76CD19B}"/>
          </ac:spMkLst>
        </pc:spChg>
        <pc:spChg chg="mod ord">
          <ac:chgData name="Shawn Lee (UK)" userId="03222456-4c0b-46ad-acb4-22367bd0c05e" providerId="ADAL" clId="{0DB3D54B-15AC-4C22-98A4-738A26DC574F}" dt="2026-02-20T14:13:13.425" v="2708"/>
          <ac:spMkLst>
            <pc:docMk/>
            <pc:sldMk cId="4167616451" sldId="312"/>
            <ac:spMk id="263" creationId="{E64D7DB9-FC9B-6E44-B72A-11C858C1336D}"/>
          </ac:spMkLst>
        </pc:spChg>
        <pc:graphicFrameChg chg="mod">
          <ac:chgData name="Shawn Lee (UK)" userId="03222456-4c0b-46ad-acb4-22367bd0c05e" providerId="ADAL" clId="{0DB3D54B-15AC-4C22-98A4-738A26DC574F}" dt="2026-02-20T14:13:13.450" v="2762"/>
          <ac:graphicFrameMkLst>
            <pc:docMk/>
            <pc:sldMk cId="4167616451" sldId="312"/>
            <ac:graphicFrameMk id="4" creationId="{F80B8ADA-92D6-9331-5ED0-A7246C3399EE}"/>
          </ac:graphicFrameMkLst>
        </pc:graphicFrameChg>
        <pc:graphicFrameChg chg="add del mod ord">
          <ac:chgData name="Shawn Lee (UK)" userId="03222456-4c0b-46ad-acb4-22367bd0c05e" providerId="ADAL" clId="{0DB3D54B-15AC-4C22-98A4-738A26DC574F}" dt="2026-02-20T14:13:13.381" v="2659"/>
          <ac:graphicFrameMkLst>
            <pc:docMk/>
            <pc:sldMk cId="4167616451" sldId="312"/>
            <ac:graphicFrameMk id="14" creationId="{BB1DD2C9-33B5-927A-33F7-6E6234CA15B8}"/>
          </ac:graphicFrameMkLst>
        </pc:graphicFrameChg>
        <pc:graphicFrameChg chg="add mod ord">
          <ac:chgData name="Shawn Lee (UK)" userId="03222456-4c0b-46ad-acb4-22367bd0c05e" providerId="ADAL" clId="{0DB3D54B-15AC-4C22-98A4-738A26DC574F}" dt="2026-02-20T14:13:13.412" v="2690"/>
          <ac:graphicFrameMkLst>
            <pc:docMk/>
            <pc:sldMk cId="4167616451" sldId="312"/>
            <ac:graphicFrameMk id="41" creationId="{ACDF658D-4334-1B51-A3C2-52246D25C2A2}"/>
          </ac:graphicFrameMkLst>
        </pc:graphicFrameChg>
        <pc:graphicFrameChg chg="del">
          <ac:chgData name="Shawn Lee (UK)" userId="03222456-4c0b-46ad-acb4-22367bd0c05e" providerId="ADAL" clId="{0DB3D54B-15AC-4C22-98A4-738A26DC574F}" dt="2026-02-20T14:06:20.491" v="1735"/>
          <ac:graphicFrameMkLst>
            <pc:docMk/>
            <pc:sldMk cId="4167616451" sldId="312"/>
            <ac:graphicFrameMk id="264" creationId="{64495FE9-A4B5-BAB5-E9F7-37595771B789}"/>
          </ac:graphicFrameMkLst>
        </pc:graphicFrameChg>
        <pc:picChg chg="mod ord">
          <ac:chgData name="Shawn Lee (UK)" userId="03222456-4c0b-46ad-acb4-22367bd0c05e" providerId="ADAL" clId="{0DB3D54B-15AC-4C22-98A4-738A26DC574F}" dt="2026-02-20T14:13:13.412" v="2688"/>
          <ac:picMkLst>
            <pc:docMk/>
            <pc:sldMk cId="4167616451" sldId="312"/>
            <ac:picMk id="2" creationId="{C2FE8E5C-BDDD-5EE1-1322-30F25B671C18}"/>
          </ac:picMkLst>
        </pc:picChg>
      </pc:sldChg>
      <pc:sldChg chg="addSp delSp modSp mod">
        <pc:chgData name="Shawn Lee (UK)" userId="03222456-4c0b-46ad-acb4-22367bd0c05e" providerId="ADAL" clId="{0DB3D54B-15AC-4C22-98A4-738A26DC574F}" dt="2026-02-20T14:18:06.086" v="3304"/>
        <pc:sldMkLst>
          <pc:docMk/>
          <pc:sldMk cId="1719139297" sldId="313"/>
        </pc:sldMkLst>
        <pc:spChg chg="mod ord">
          <ac:chgData name="Shawn Lee (UK)" userId="03222456-4c0b-46ad-acb4-22367bd0c05e" providerId="ADAL" clId="{0DB3D54B-15AC-4C22-98A4-738A26DC574F}" dt="2026-02-20T14:18:06.072" v="3251"/>
          <ac:spMkLst>
            <pc:docMk/>
            <pc:sldMk cId="1719139297" sldId="313"/>
            <ac:spMk id="3" creationId="{BF59684C-688D-910F-AB46-887E3E85E888}"/>
          </ac:spMkLst>
        </pc:spChg>
        <pc:spChg chg="mod">
          <ac:chgData name="Shawn Lee (UK)" userId="03222456-4c0b-46ad-acb4-22367bd0c05e" providerId="ADAL" clId="{0DB3D54B-15AC-4C22-98A4-738A26DC574F}" dt="2026-02-20T14:18:06.072" v="3252"/>
          <ac:spMkLst>
            <pc:docMk/>
            <pc:sldMk cId="1719139297" sldId="313"/>
            <ac:spMk id="5" creationId="{03962B09-173C-0A48-D93A-1D4383BD83E7}"/>
          </ac:spMkLst>
        </pc:spChg>
        <pc:spChg chg="add mod">
          <ac:chgData name="Shawn Lee (UK)" userId="03222456-4c0b-46ad-acb4-22367bd0c05e" providerId="ADAL" clId="{0DB3D54B-15AC-4C22-98A4-738A26DC574F}" dt="2026-02-20T14:18:06.084" v="3298"/>
          <ac:spMkLst>
            <pc:docMk/>
            <pc:sldMk cId="1719139297" sldId="313"/>
            <ac:spMk id="6" creationId="{FC924619-5B57-2B6D-AF07-DCAECA303337}"/>
          </ac:spMkLst>
        </pc:spChg>
        <pc:spChg chg="add del mod modVis">
          <ac:chgData name="Shawn Lee (UK)" userId="03222456-4c0b-46ad-acb4-22367bd0c05e" providerId="ADAL" clId="{0DB3D54B-15AC-4C22-98A4-738A26DC574F}" dt="2026-02-20T14:17:54.470" v="3084"/>
          <ac:spMkLst>
            <pc:docMk/>
            <pc:sldMk cId="1719139297" sldId="313"/>
            <ac:spMk id="7" creationId="{951BD01B-8886-6E2F-3457-BE954FE3D2E7}"/>
          </ac:spMkLst>
        </pc:spChg>
        <pc:spChg chg="mod">
          <ac:chgData name="Shawn Lee (UK)" userId="03222456-4c0b-46ad-acb4-22367bd0c05e" providerId="ADAL" clId="{0DB3D54B-15AC-4C22-98A4-738A26DC574F}" dt="2026-02-20T14:18:06.079" v="3278"/>
          <ac:spMkLst>
            <pc:docMk/>
            <pc:sldMk cId="1719139297" sldId="313"/>
            <ac:spMk id="8" creationId="{FA077929-F775-590F-241B-D506ECCC1375}"/>
          </ac:spMkLst>
        </pc:spChg>
        <pc:spChg chg="mod">
          <ac:chgData name="Shawn Lee (UK)" userId="03222456-4c0b-46ad-acb4-22367bd0c05e" providerId="ADAL" clId="{0DB3D54B-15AC-4C22-98A4-738A26DC574F}" dt="2026-02-20T14:18:06.079" v="3279"/>
          <ac:spMkLst>
            <pc:docMk/>
            <pc:sldMk cId="1719139297" sldId="313"/>
            <ac:spMk id="9" creationId="{24739A56-B91D-DB7B-B53C-257ED75DB554}"/>
          </ac:spMkLst>
        </pc:spChg>
        <pc:spChg chg="mod">
          <ac:chgData name="Shawn Lee (UK)" userId="03222456-4c0b-46ad-acb4-22367bd0c05e" providerId="ADAL" clId="{0DB3D54B-15AC-4C22-98A4-738A26DC574F}" dt="2026-02-20T14:18:06.079" v="3280"/>
          <ac:spMkLst>
            <pc:docMk/>
            <pc:sldMk cId="1719139297" sldId="313"/>
            <ac:spMk id="10" creationId="{36D08746-D76B-AB89-E962-14715FBB9B0D}"/>
          </ac:spMkLst>
        </pc:spChg>
        <pc:spChg chg="add mod ord">
          <ac:chgData name="Shawn Lee (UK)" userId="03222456-4c0b-46ad-acb4-22367bd0c05e" providerId="ADAL" clId="{0DB3D54B-15AC-4C22-98A4-738A26DC574F}" dt="2026-02-20T14:18:06.085" v="3300"/>
          <ac:spMkLst>
            <pc:docMk/>
            <pc:sldMk cId="1719139297" sldId="313"/>
            <ac:spMk id="11" creationId="{A8C249AA-17EF-2BE5-9CCC-75E50FD3B6D9}"/>
          </ac:spMkLst>
        </pc:spChg>
        <pc:spChg chg="add del mod modVis">
          <ac:chgData name="Shawn Lee (UK)" userId="03222456-4c0b-46ad-acb4-22367bd0c05e" providerId="ADAL" clId="{0DB3D54B-15AC-4C22-98A4-738A26DC574F}" dt="2026-02-20T14:17:56.364" v="3201"/>
          <ac:spMkLst>
            <pc:docMk/>
            <pc:sldMk cId="1719139297" sldId="313"/>
            <ac:spMk id="13" creationId="{E62A82F1-7BE5-B108-C3B3-3752DB814759}"/>
          </ac:spMkLst>
        </pc:spChg>
        <pc:spChg chg="add del mod modVis">
          <ac:chgData name="Shawn Lee (UK)" userId="03222456-4c0b-46ad-acb4-22367bd0c05e" providerId="ADAL" clId="{0DB3D54B-15AC-4C22-98A4-738A26DC574F}" dt="2026-02-20T14:18:06.085" v="3302"/>
          <ac:spMkLst>
            <pc:docMk/>
            <pc:sldMk cId="1719139297" sldId="313"/>
            <ac:spMk id="16" creationId="{60A9D03B-81DE-57B5-D750-66DD0E3B6976}"/>
          </ac:spMkLst>
        </pc:spChg>
        <pc:spChg chg="mod">
          <ac:chgData name="Shawn Lee (UK)" userId="03222456-4c0b-46ad-acb4-22367bd0c05e" providerId="ADAL" clId="{0DB3D54B-15AC-4C22-98A4-738A26DC574F}" dt="2026-02-20T14:18:06.079" v="3281"/>
          <ac:spMkLst>
            <pc:docMk/>
            <pc:sldMk cId="1719139297" sldId="313"/>
            <ac:spMk id="21" creationId="{51D23AC3-F7C8-22C6-409A-790CADCC848B}"/>
          </ac:spMkLst>
        </pc:spChg>
        <pc:spChg chg="mod">
          <ac:chgData name="Shawn Lee (UK)" userId="03222456-4c0b-46ad-acb4-22367bd0c05e" providerId="ADAL" clId="{0DB3D54B-15AC-4C22-98A4-738A26DC574F}" dt="2026-02-20T14:18:06.080" v="3282"/>
          <ac:spMkLst>
            <pc:docMk/>
            <pc:sldMk cId="1719139297" sldId="313"/>
            <ac:spMk id="22" creationId="{2B9FD959-7F44-9F50-693B-B025415D6ACC}"/>
          </ac:spMkLst>
        </pc:spChg>
        <pc:spChg chg="mod">
          <ac:chgData name="Shawn Lee (UK)" userId="03222456-4c0b-46ad-acb4-22367bd0c05e" providerId="ADAL" clId="{0DB3D54B-15AC-4C22-98A4-738A26DC574F}" dt="2026-02-20T14:18:06.080" v="3283"/>
          <ac:spMkLst>
            <pc:docMk/>
            <pc:sldMk cId="1719139297" sldId="313"/>
            <ac:spMk id="23" creationId="{74D0D4E7-A791-7163-E186-252AD46DEA1F}"/>
          </ac:spMkLst>
        </pc:spChg>
        <pc:spChg chg="mod">
          <ac:chgData name="Shawn Lee (UK)" userId="03222456-4c0b-46ad-acb4-22367bd0c05e" providerId="ADAL" clId="{0DB3D54B-15AC-4C22-98A4-738A26DC574F}" dt="2026-02-20T14:18:06.080" v="3284"/>
          <ac:spMkLst>
            <pc:docMk/>
            <pc:sldMk cId="1719139297" sldId="313"/>
            <ac:spMk id="24" creationId="{34AC7AEB-E9A1-24DF-9822-2900868642A1}"/>
          </ac:spMkLst>
        </pc:spChg>
        <pc:spChg chg="mod">
          <ac:chgData name="Shawn Lee (UK)" userId="03222456-4c0b-46ad-acb4-22367bd0c05e" providerId="ADAL" clId="{0DB3D54B-15AC-4C22-98A4-738A26DC574F}" dt="2026-02-20T14:18:06.081" v="3285"/>
          <ac:spMkLst>
            <pc:docMk/>
            <pc:sldMk cId="1719139297" sldId="313"/>
            <ac:spMk id="25" creationId="{390CA832-2646-143E-101F-6EF95C6A76A2}"/>
          </ac:spMkLst>
        </pc:spChg>
        <pc:spChg chg="mod">
          <ac:chgData name="Shawn Lee (UK)" userId="03222456-4c0b-46ad-acb4-22367bd0c05e" providerId="ADAL" clId="{0DB3D54B-15AC-4C22-98A4-738A26DC574F}" dt="2026-02-20T14:18:06.081" v="3286"/>
          <ac:spMkLst>
            <pc:docMk/>
            <pc:sldMk cId="1719139297" sldId="313"/>
            <ac:spMk id="26" creationId="{2C184540-1B91-E5E0-8D30-778AA2FF1786}"/>
          </ac:spMkLst>
        </pc:spChg>
        <pc:spChg chg="mod">
          <ac:chgData name="Shawn Lee (UK)" userId="03222456-4c0b-46ad-acb4-22367bd0c05e" providerId="ADAL" clId="{0DB3D54B-15AC-4C22-98A4-738A26DC574F}" dt="2026-02-20T14:18:06.081" v="3287"/>
          <ac:spMkLst>
            <pc:docMk/>
            <pc:sldMk cId="1719139297" sldId="313"/>
            <ac:spMk id="27" creationId="{53125B34-A4A7-8289-B38F-0DF5929E6B0A}"/>
          </ac:spMkLst>
        </pc:spChg>
        <pc:spChg chg="mod">
          <ac:chgData name="Shawn Lee (UK)" userId="03222456-4c0b-46ad-acb4-22367bd0c05e" providerId="ADAL" clId="{0DB3D54B-15AC-4C22-98A4-738A26DC574F}" dt="2026-02-20T14:18:06.082" v="3288"/>
          <ac:spMkLst>
            <pc:docMk/>
            <pc:sldMk cId="1719139297" sldId="313"/>
            <ac:spMk id="28" creationId="{B69A963E-320D-D4B1-5D3E-11985032B127}"/>
          </ac:spMkLst>
        </pc:spChg>
        <pc:spChg chg="mod">
          <ac:chgData name="Shawn Lee (UK)" userId="03222456-4c0b-46ad-acb4-22367bd0c05e" providerId="ADAL" clId="{0DB3D54B-15AC-4C22-98A4-738A26DC574F}" dt="2026-02-20T14:18:06.082" v="3289"/>
          <ac:spMkLst>
            <pc:docMk/>
            <pc:sldMk cId="1719139297" sldId="313"/>
            <ac:spMk id="29" creationId="{A2F123AE-339A-704F-95C5-633CD830D88B}"/>
          </ac:spMkLst>
        </pc:spChg>
        <pc:spChg chg="mod">
          <ac:chgData name="Shawn Lee (UK)" userId="03222456-4c0b-46ad-acb4-22367bd0c05e" providerId="ADAL" clId="{0DB3D54B-15AC-4C22-98A4-738A26DC574F}" dt="2026-02-20T14:18:06.082" v="3290"/>
          <ac:spMkLst>
            <pc:docMk/>
            <pc:sldMk cId="1719139297" sldId="313"/>
            <ac:spMk id="30" creationId="{583504A0-9421-7E71-E70E-DE65823D0A51}"/>
          </ac:spMkLst>
        </pc:spChg>
        <pc:spChg chg="mod">
          <ac:chgData name="Shawn Lee (UK)" userId="03222456-4c0b-46ad-acb4-22367bd0c05e" providerId="ADAL" clId="{0DB3D54B-15AC-4C22-98A4-738A26DC574F}" dt="2026-02-20T14:18:06.083" v="3291"/>
          <ac:spMkLst>
            <pc:docMk/>
            <pc:sldMk cId="1719139297" sldId="313"/>
            <ac:spMk id="31" creationId="{DF36ADAC-DA46-B91B-EF7D-EAAA1C6A66FE}"/>
          </ac:spMkLst>
        </pc:spChg>
        <pc:spChg chg="mod ord">
          <ac:chgData name="Shawn Lee (UK)" userId="03222456-4c0b-46ad-acb4-22367bd0c05e" providerId="ADAL" clId="{0DB3D54B-15AC-4C22-98A4-738A26DC574F}" dt="2026-02-20T14:18:06.083" v="3293"/>
          <ac:spMkLst>
            <pc:docMk/>
            <pc:sldMk cId="1719139297" sldId="313"/>
            <ac:spMk id="35" creationId="{0B525AE0-6313-FBD7-6E75-85323F9211F1}"/>
          </ac:spMkLst>
        </pc:spChg>
        <pc:spChg chg="mod ord">
          <ac:chgData name="Shawn Lee (UK)" userId="03222456-4c0b-46ad-acb4-22367bd0c05e" providerId="ADAL" clId="{0DB3D54B-15AC-4C22-98A4-738A26DC574F}" dt="2026-02-20T14:18:06.083" v="3295"/>
          <ac:spMkLst>
            <pc:docMk/>
            <pc:sldMk cId="1719139297" sldId="313"/>
            <ac:spMk id="36" creationId="{7F1F1D0F-AFC8-4C5E-8303-6A066B0F6E15}"/>
          </ac:spMkLst>
        </pc:spChg>
        <pc:spChg chg="mod ord">
          <ac:chgData name="Shawn Lee (UK)" userId="03222456-4c0b-46ad-acb4-22367bd0c05e" providerId="ADAL" clId="{0DB3D54B-15AC-4C22-98A4-738A26DC574F}" dt="2026-02-20T14:18:06.084" v="3297"/>
          <ac:spMkLst>
            <pc:docMk/>
            <pc:sldMk cId="1719139297" sldId="313"/>
            <ac:spMk id="37" creationId="{1031FF93-5A7C-A04A-CD28-BADDC50DA9BA}"/>
          </ac:spMkLst>
        </pc:spChg>
        <pc:spChg chg="mod">
          <ac:chgData name="Shawn Lee (UK)" userId="03222456-4c0b-46ad-acb4-22367bd0c05e" providerId="ADAL" clId="{0DB3D54B-15AC-4C22-98A4-738A26DC574F}" dt="2026-02-20T14:18:06.078" v="3277"/>
          <ac:spMkLst>
            <pc:docMk/>
            <pc:sldMk cId="1719139297" sldId="313"/>
            <ac:spMk id="53" creationId="{C1D41DAF-9369-872E-D4AF-00B29C25C98A}"/>
          </ac:spMkLst>
        </pc:spChg>
        <pc:graphicFrameChg chg="mod">
          <ac:chgData name="Shawn Lee (UK)" userId="03222456-4c0b-46ad-acb4-22367bd0c05e" providerId="ADAL" clId="{0DB3D54B-15AC-4C22-98A4-738A26DC574F}" dt="2026-02-20T14:18:06.086" v="3304"/>
          <ac:graphicFrameMkLst>
            <pc:docMk/>
            <pc:sldMk cId="1719139297" sldId="313"/>
            <ac:graphicFrameMk id="4" creationId="{56BB6034-A89C-6C54-DB65-ED3FD37D6B48}"/>
          </ac:graphicFrameMkLst>
        </pc:graphicFrameChg>
        <pc:graphicFrameChg chg="add del mod ord">
          <ac:chgData name="Shawn Lee (UK)" userId="03222456-4c0b-46ad-acb4-22367bd0c05e" providerId="ADAL" clId="{0DB3D54B-15AC-4C22-98A4-738A26DC574F}" dt="2026-02-20T14:17:56.338" v="3143"/>
          <ac:graphicFrameMkLst>
            <pc:docMk/>
            <pc:sldMk cId="1719139297" sldId="313"/>
            <ac:graphicFrameMk id="12" creationId="{83FAC950-FC51-DBAA-7A60-B72B3992BD74}"/>
          </ac:graphicFrameMkLst>
        </pc:graphicFrameChg>
        <pc:graphicFrameChg chg="add del mod ord">
          <ac:chgData name="Shawn Lee (UK)" userId="03222456-4c0b-46ad-acb4-22367bd0c05e" providerId="ADAL" clId="{0DB3D54B-15AC-4C22-98A4-738A26DC574F}" dt="2026-02-20T14:18:06.056" v="3244"/>
          <ac:graphicFrameMkLst>
            <pc:docMk/>
            <pc:sldMk cId="1719139297" sldId="313"/>
            <ac:graphicFrameMk id="15" creationId="{4630ADB4-FB93-193A-8755-CE866D97A42F}"/>
          </ac:graphicFrameMkLst>
        </pc:graphicFrameChg>
        <pc:graphicFrameChg chg="add mod ord">
          <ac:chgData name="Shawn Lee (UK)" userId="03222456-4c0b-46ad-acb4-22367bd0c05e" providerId="ADAL" clId="{0DB3D54B-15AC-4C22-98A4-738A26DC574F}" dt="2026-02-20T14:18:06.078" v="3276"/>
          <ac:graphicFrameMkLst>
            <pc:docMk/>
            <pc:sldMk cId="1719139297" sldId="313"/>
            <ac:graphicFrameMk id="17" creationId="{1FD86785-4185-257A-5F38-01862492BF35}"/>
          </ac:graphicFrameMkLst>
        </pc:graphicFrameChg>
        <pc:graphicFrameChg chg="del">
          <ac:chgData name="Shawn Lee (UK)" userId="03222456-4c0b-46ad-acb4-22367bd0c05e" providerId="ADAL" clId="{0DB3D54B-15AC-4C22-98A4-738A26DC574F}" dt="2026-02-20T14:17:54.437" v="3026"/>
          <ac:graphicFrameMkLst>
            <pc:docMk/>
            <pc:sldMk cId="1719139297" sldId="313"/>
            <ac:graphicFrameMk id="85" creationId="{7B0FB4A9-F03B-D52D-ACDE-3C6FBF0B8402}"/>
          </ac:graphicFrameMkLst>
        </pc:graphicFrameChg>
        <pc:picChg chg="mod ord">
          <ac:chgData name="Shawn Lee (UK)" userId="03222456-4c0b-46ad-acb4-22367bd0c05e" providerId="ADAL" clId="{0DB3D54B-15AC-4C22-98A4-738A26DC574F}" dt="2026-02-20T14:18:06.073" v="3254"/>
          <ac:picMkLst>
            <pc:docMk/>
            <pc:sldMk cId="1719139297" sldId="313"/>
            <ac:picMk id="2" creationId="{33FC78A0-69F7-AEE3-474E-59C3DB2CFFFE}"/>
          </ac:picMkLst>
        </pc:picChg>
        <pc:cxnChg chg="mod ord">
          <ac:chgData name="Shawn Lee (UK)" userId="03222456-4c0b-46ad-acb4-22367bd0c05e" providerId="ADAL" clId="{0DB3D54B-15AC-4C22-98A4-738A26DC574F}" dt="2026-02-20T14:18:06.077" v="3274"/>
          <ac:cxnSpMkLst>
            <pc:docMk/>
            <pc:sldMk cId="1719139297" sldId="313"/>
            <ac:cxnSpMk id="14" creationId="{8CB46E33-A47B-3101-40C1-540966347DB4}"/>
          </ac:cxnSpMkLst>
        </pc:cxnChg>
        <pc:cxnChg chg="mod ord">
          <ac:chgData name="Shawn Lee (UK)" userId="03222456-4c0b-46ad-acb4-22367bd0c05e" providerId="ADAL" clId="{0DB3D54B-15AC-4C22-98A4-738A26DC574F}" dt="2026-02-20T14:18:06.074" v="3256"/>
          <ac:cxnSpMkLst>
            <pc:docMk/>
            <pc:sldMk cId="1719139297" sldId="313"/>
            <ac:cxnSpMk id="38" creationId="{DE41A981-79E1-A903-9717-CB8D14921688}"/>
          </ac:cxnSpMkLst>
        </pc:cxnChg>
        <pc:cxnChg chg="mod ord">
          <ac:chgData name="Shawn Lee (UK)" userId="03222456-4c0b-46ad-acb4-22367bd0c05e" providerId="ADAL" clId="{0DB3D54B-15AC-4C22-98A4-738A26DC574F}" dt="2026-02-20T14:18:06.074" v="3258"/>
          <ac:cxnSpMkLst>
            <pc:docMk/>
            <pc:sldMk cId="1719139297" sldId="313"/>
            <ac:cxnSpMk id="39" creationId="{70F33B3F-D3A4-EBDD-5441-5D24FBD73D6B}"/>
          </ac:cxnSpMkLst>
        </pc:cxnChg>
        <pc:cxnChg chg="mod ord">
          <ac:chgData name="Shawn Lee (UK)" userId="03222456-4c0b-46ad-acb4-22367bd0c05e" providerId="ADAL" clId="{0DB3D54B-15AC-4C22-98A4-738A26DC574F}" dt="2026-02-20T14:18:06.075" v="3260"/>
          <ac:cxnSpMkLst>
            <pc:docMk/>
            <pc:sldMk cId="1719139297" sldId="313"/>
            <ac:cxnSpMk id="40" creationId="{073AEE74-E72F-58D6-2D0B-7BF839C39265}"/>
          </ac:cxnSpMkLst>
        </pc:cxnChg>
        <pc:cxnChg chg="mod ord">
          <ac:chgData name="Shawn Lee (UK)" userId="03222456-4c0b-46ad-acb4-22367bd0c05e" providerId="ADAL" clId="{0DB3D54B-15AC-4C22-98A4-738A26DC574F}" dt="2026-02-20T14:18:06.075" v="3262"/>
          <ac:cxnSpMkLst>
            <pc:docMk/>
            <pc:sldMk cId="1719139297" sldId="313"/>
            <ac:cxnSpMk id="41" creationId="{0E82D5DC-F453-81AC-5B72-CDAFA577DAF7}"/>
          </ac:cxnSpMkLst>
        </pc:cxnChg>
        <pc:cxnChg chg="mod ord">
          <ac:chgData name="Shawn Lee (UK)" userId="03222456-4c0b-46ad-acb4-22367bd0c05e" providerId="ADAL" clId="{0DB3D54B-15AC-4C22-98A4-738A26DC574F}" dt="2026-02-20T14:18:06.075" v="3264"/>
          <ac:cxnSpMkLst>
            <pc:docMk/>
            <pc:sldMk cId="1719139297" sldId="313"/>
            <ac:cxnSpMk id="42" creationId="{245F89BF-C90C-8156-B78C-AFF3776424BD}"/>
          </ac:cxnSpMkLst>
        </pc:cxnChg>
        <pc:cxnChg chg="mod ord">
          <ac:chgData name="Shawn Lee (UK)" userId="03222456-4c0b-46ad-acb4-22367bd0c05e" providerId="ADAL" clId="{0DB3D54B-15AC-4C22-98A4-738A26DC574F}" dt="2026-02-20T14:18:06.076" v="3266"/>
          <ac:cxnSpMkLst>
            <pc:docMk/>
            <pc:sldMk cId="1719139297" sldId="313"/>
            <ac:cxnSpMk id="43" creationId="{41706F9B-E06C-F93A-5CBA-6731E4C7B093}"/>
          </ac:cxnSpMkLst>
        </pc:cxnChg>
        <pc:cxnChg chg="mod ord">
          <ac:chgData name="Shawn Lee (UK)" userId="03222456-4c0b-46ad-acb4-22367bd0c05e" providerId="ADAL" clId="{0DB3D54B-15AC-4C22-98A4-738A26DC574F}" dt="2026-02-20T14:18:06.076" v="3268"/>
          <ac:cxnSpMkLst>
            <pc:docMk/>
            <pc:sldMk cId="1719139297" sldId="313"/>
            <ac:cxnSpMk id="44" creationId="{80E276AA-539F-D1C8-D175-E923D016035A}"/>
          </ac:cxnSpMkLst>
        </pc:cxnChg>
        <pc:cxnChg chg="mod ord">
          <ac:chgData name="Shawn Lee (UK)" userId="03222456-4c0b-46ad-acb4-22367bd0c05e" providerId="ADAL" clId="{0DB3D54B-15AC-4C22-98A4-738A26DC574F}" dt="2026-02-20T14:18:06.077" v="3270"/>
          <ac:cxnSpMkLst>
            <pc:docMk/>
            <pc:sldMk cId="1719139297" sldId="313"/>
            <ac:cxnSpMk id="45" creationId="{B8D77553-1EF6-4061-F2D6-78EA9C2274CC}"/>
          </ac:cxnSpMkLst>
        </pc:cxnChg>
        <pc:cxnChg chg="mod ord">
          <ac:chgData name="Shawn Lee (UK)" userId="03222456-4c0b-46ad-acb4-22367bd0c05e" providerId="ADAL" clId="{0DB3D54B-15AC-4C22-98A4-738A26DC574F}" dt="2026-02-20T14:18:06.077" v="3272"/>
          <ac:cxnSpMkLst>
            <pc:docMk/>
            <pc:sldMk cId="1719139297" sldId="313"/>
            <ac:cxnSpMk id="46" creationId="{A394BACB-2133-CC64-887B-8599B536463C}"/>
          </ac:cxnSpMkLst>
        </pc:cxnChg>
      </pc:sldChg>
      <pc:sldChg chg="addSp delSp modSp mod">
        <pc:chgData name="Shawn Lee (UK)" userId="03222456-4c0b-46ad-acb4-22367bd0c05e" providerId="ADAL" clId="{0DB3D54B-15AC-4C22-98A4-738A26DC574F}" dt="2026-02-20T14:18:45.850" v="4146"/>
        <pc:sldMkLst>
          <pc:docMk/>
          <pc:sldMk cId="3908385233" sldId="314"/>
        </pc:sldMkLst>
        <pc:spChg chg="mod ord">
          <ac:chgData name="Shawn Lee (UK)" userId="03222456-4c0b-46ad-acb4-22367bd0c05e" providerId="ADAL" clId="{0DB3D54B-15AC-4C22-98A4-738A26DC574F}" dt="2026-02-20T14:18:45.838" v="4110"/>
          <ac:spMkLst>
            <pc:docMk/>
            <pc:sldMk cId="3908385233" sldId="314"/>
            <ac:spMk id="3" creationId="{441D7C8A-2DFF-D54D-3334-C53F06500129}"/>
          </ac:spMkLst>
        </pc:spChg>
        <pc:spChg chg="mod">
          <ac:chgData name="Shawn Lee (UK)" userId="03222456-4c0b-46ad-acb4-22367bd0c05e" providerId="ADAL" clId="{0DB3D54B-15AC-4C22-98A4-738A26DC574F}" dt="2026-02-20T14:18:45.838" v="4111"/>
          <ac:spMkLst>
            <pc:docMk/>
            <pc:sldMk cId="3908385233" sldId="314"/>
            <ac:spMk id="5" creationId="{CC03BD40-E1CE-6AE4-A11F-39E49B9198D4}"/>
          </ac:spMkLst>
        </pc:spChg>
        <pc:spChg chg="add del mod modVis">
          <ac:chgData name="Shawn Lee (UK)" userId="03222456-4c0b-46ad-acb4-22367bd0c05e" providerId="ADAL" clId="{0DB3D54B-15AC-4C22-98A4-738A26DC574F}" dt="2026-02-20T14:18:24.371" v="3482"/>
          <ac:spMkLst>
            <pc:docMk/>
            <pc:sldMk cId="3908385233" sldId="314"/>
            <ac:spMk id="6" creationId="{F8FB56E0-BA72-EE5A-6C3C-E2FD91B57093}"/>
          </ac:spMkLst>
        </pc:spChg>
        <pc:spChg chg="mod">
          <ac:chgData name="Shawn Lee (UK)" userId="03222456-4c0b-46ad-acb4-22367bd0c05e" providerId="ADAL" clId="{0DB3D54B-15AC-4C22-98A4-738A26DC574F}" dt="2026-02-20T14:18:45.844" v="4124"/>
          <ac:spMkLst>
            <pc:docMk/>
            <pc:sldMk cId="3908385233" sldId="314"/>
            <ac:spMk id="8" creationId="{5278059B-55FC-8C4B-7EFD-DFC6C35E4701}"/>
          </ac:spMkLst>
        </pc:spChg>
        <pc:spChg chg="mod">
          <ac:chgData name="Shawn Lee (UK)" userId="03222456-4c0b-46ad-acb4-22367bd0c05e" providerId="ADAL" clId="{0DB3D54B-15AC-4C22-98A4-738A26DC574F}" dt="2026-02-20T14:18:45.844" v="4125"/>
          <ac:spMkLst>
            <pc:docMk/>
            <pc:sldMk cId="3908385233" sldId="314"/>
            <ac:spMk id="9" creationId="{9366DEF8-2478-B4BA-4D52-B976E79B8DFB}"/>
          </ac:spMkLst>
        </pc:spChg>
        <pc:spChg chg="mod">
          <ac:chgData name="Shawn Lee (UK)" userId="03222456-4c0b-46ad-acb4-22367bd0c05e" providerId="ADAL" clId="{0DB3D54B-15AC-4C22-98A4-738A26DC574F}" dt="2026-02-20T14:18:45.844" v="4126"/>
          <ac:spMkLst>
            <pc:docMk/>
            <pc:sldMk cId="3908385233" sldId="314"/>
            <ac:spMk id="10" creationId="{2C1433E4-48CF-C553-9D2C-7ED5C2BF70A3}"/>
          </ac:spMkLst>
        </pc:spChg>
        <pc:spChg chg="add mod">
          <ac:chgData name="Shawn Lee (UK)" userId="03222456-4c0b-46ad-acb4-22367bd0c05e" providerId="ADAL" clId="{0DB3D54B-15AC-4C22-98A4-738A26DC574F}" dt="2026-02-20T14:18:45.848" v="4142"/>
          <ac:spMkLst>
            <pc:docMk/>
            <pc:sldMk cId="3908385233" sldId="314"/>
            <ac:spMk id="11" creationId="{2D47BF1A-688C-C332-6A44-32A50A177B82}"/>
          </ac:spMkLst>
        </pc:spChg>
        <pc:spChg chg="add del mod modVis">
          <ac:chgData name="Shawn Lee (UK)" userId="03222456-4c0b-46ad-acb4-22367bd0c05e" providerId="ADAL" clId="{0DB3D54B-15AC-4C22-98A4-738A26DC574F}" dt="2026-02-20T14:18:29.087" v="3618"/>
          <ac:spMkLst>
            <pc:docMk/>
            <pc:sldMk cId="3908385233" sldId="314"/>
            <ac:spMk id="12" creationId="{BA625740-BFEF-D41A-9324-E3E4EF1E0617}"/>
          </ac:spMkLst>
        </pc:spChg>
        <pc:spChg chg="add del mod modVis">
          <ac:chgData name="Shawn Lee (UK)" userId="03222456-4c0b-46ad-acb4-22367bd0c05e" providerId="ADAL" clId="{0DB3D54B-15AC-4C22-98A4-738A26DC574F}" dt="2026-02-20T14:18:31.270" v="3712"/>
          <ac:spMkLst>
            <pc:docMk/>
            <pc:sldMk cId="3908385233" sldId="314"/>
            <ac:spMk id="14" creationId="{038803F1-A1A2-ACE6-691B-AF2DAF5692E3}"/>
          </ac:spMkLst>
        </pc:spChg>
        <pc:spChg chg="add del mod modVis">
          <ac:chgData name="Shawn Lee (UK)" userId="03222456-4c0b-46ad-acb4-22367bd0c05e" providerId="ADAL" clId="{0DB3D54B-15AC-4C22-98A4-738A26DC574F}" dt="2026-02-20T14:18:36.987" v="3847"/>
          <ac:spMkLst>
            <pc:docMk/>
            <pc:sldMk cId="3908385233" sldId="314"/>
            <ac:spMk id="16" creationId="{648861F3-95C2-8E8C-90EB-1784F5DBA79E}"/>
          </ac:spMkLst>
        </pc:spChg>
        <pc:spChg chg="add del mod">
          <ac:chgData name="Shawn Lee (UK)" userId="03222456-4c0b-46ad-acb4-22367bd0c05e" providerId="ADAL" clId="{0DB3D54B-15AC-4C22-98A4-738A26DC574F}" dt="2026-02-20T14:18:38.633" v="3883"/>
          <ac:spMkLst>
            <pc:docMk/>
            <pc:sldMk cId="3908385233" sldId="314"/>
            <ac:spMk id="17" creationId="{8207D8C5-6486-B3E2-6DBF-0C34EB28E53B}"/>
          </ac:spMkLst>
        </pc:spChg>
        <pc:spChg chg="add del mod modVis">
          <ac:chgData name="Shawn Lee (UK)" userId="03222456-4c0b-46ad-acb4-22367bd0c05e" providerId="ADAL" clId="{0DB3D54B-15AC-4C22-98A4-738A26DC574F}" dt="2026-02-20T14:18:38.663" v="3926"/>
          <ac:spMkLst>
            <pc:docMk/>
            <pc:sldMk cId="3908385233" sldId="314"/>
            <ac:spMk id="19" creationId="{6534F2F8-66D3-8F71-1326-485D3C26BCAD}"/>
          </ac:spMkLst>
        </pc:spChg>
        <pc:spChg chg="mod">
          <ac:chgData name="Shawn Lee (UK)" userId="03222456-4c0b-46ad-acb4-22367bd0c05e" providerId="ADAL" clId="{0DB3D54B-15AC-4C22-98A4-738A26DC574F}" dt="2026-02-20T14:18:45.844" v="4127"/>
          <ac:spMkLst>
            <pc:docMk/>
            <pc:sldMk cId="3908385233" sldId="314"/>
            <ac:spMk id="21" creationId="{35830282-460E-13B0-4102-AF4771B6E1E8}"/>
          </ac:spMkLst>
        </pc:spChg>
        <pc:spChg chg="mod">
          <ac:chgData name="Shawn Lee (UK)" userId="03222456-4c0b-46ad-acb4-22367bd0c05e" providerId="ADAL" clId="{0DB3D54B-15AC-4C22-98A4-738A26DC574F}" dt="2026-02-20T14:18:45.844" v="4128"/>
          <ac:spMkLst>
            <pc:docMk/>
            <pc:sldMk cId="3908385233" sldId="314"/>
            <ac:spMk id="22" creationId="{429355B5-58E3-08EE-6F4A-3DBCFD4B66F1}"/>
          </ac:spMkLst>
        </pc:spChg>
        <pc:spChg chg="mod">
          <ac:chgData name="Shawn Lee (UK)" userId="03222456-4c0b-46ad-acb4-22367bd0c05e" providerId="ADAL" clId="{0DB3D54B-15AC-4C22-98A4-738A26DC574F}" dt="2026-02-20T14:18:45.844" v="4129"/>
          <ac:spMkLst>
            <pc:docMk/>
            <pc:sldMk cId="3908385233" sldId="314"/>
            <ac:spMk id="23" creationId="{A34DDE48-90D7-ACF9-3D4D-7FE4AE47D527}"/>
          </ac:spMkLst>
        </pc:spChg>
        <pc:spChg chg="mod">
          <ac:chgData name="Shawn Lee (UK)" userId="03222456-4c0b-46ad-acb4-22367bd0c05e" providerId="ADAL" clId="{0DB3D54B-15AC-4C22-98A4-738A26DC574F}" dt="2026-02-20T14:18:45.844" v="4130"/>
          <ac:spMkLst>
            <pc:docMk/>
            <pc:sldMk cId="3908385233" sldId="314"/>
            <ac:spMk id="24" creationId="{7A801086-704F-C421-7121-F279908DF04F}"/>
          </ac:spMkLst>
        </pc:spChg>
        <pc:spChg chg="mod">
          <ac:chgData name="Shawn Lee (UK)" userId="03222456-4c0b-46ad-acb4-22367bd0c05e" providerId="ADAL" clId="{0DB3D54B-15AC-4C22-98A4-738A26DC574F}" dt="2026-02-20T14:18:45.846" v="4131"/>
          <ac:spMkLst>
            <pc:docMk/>
            <pc:sldMk cId="3908385233" sldId="314"/>
            <ac:spMk id="25" creationId="{E9B80853-AB1A-0778-021B-CC52C08DF76C}"/>
          </ac:spMkLst>
        </pc:spChg>
        <pc:spChg chg="mod">
          <ac:chgData name="Shawn Lee (UK)" userId="03222456-4c0b-46ad-acb4-22367bd0c05e" providerId="ADAL" clId="{0DB3D54B-15AC-4C22-98A4-738A26DC574F}" dt="2026-02-20T14:18:45.846" v="4132"/>
          <ac:spMkLst>
            <pc:docMk/>
            <pc:sldMk cId="3908385233" sldId="314"/>
            <ac:spMk id="26" creationId="{53B4319F-B4C8-0A60-1AA9-B12C2B48C64D}"/>
          </ac:spMkLst>
        </pc:spChg>
        <pc:spChg chg="mod">
          <ac:chgData name="Shawn Lee (UK)" userId="03222456-4c0b-46ad-acb4-22367bd0c05e" providerId="ADAL" clId="{0DB3D54B-15AC-4C22-98A4-738A26DC574F}" dt="2026-02-20T14:18:45.846" v="4133"/>
          <ac:spMkLst>
            <pc:docMk/>
            <pc:sldMk cId="3908385233" sldId="314"/>
            <ac:spMk id="27" creationId="{3DF5A410-D55A-1E22-9407-5257DE4FF178}"/>
          </ac:spMkLst>
        </pc:spChg>
        <pc:spChg chg="mod">
          <ac:chgData name="Shawn Lee (UK)" userId="03222456-4c0b-46ad-acb4-22367bd0c05e" providerId="ADAL" clId="{0DB3D54B-15AC-4C22-98A4-738A26DC574F}" dt="2026-02-20T14:18:45.846" v="4134"/>
          <ac:spMkLst>
            <pc:docMk/>
            <pc:sldMk cId="3908385233" sldId="314"/>
            <ac:spMk id="28" creationId="{932D188B-7115-9202-E82A-3178DCAC8594}"/>
          </ac:spMkLst>
        </pc:spChg>
        <pc:spChg chg="mod">
          <ac:chgData name="Shawn Lee (UK)" userId="03222456-4c0b-46ad-acb4-22367bd0c05e" providerId="ADAL" clId="{0DB3D54B-15AC-4C22-98A4-738A26DC574F}" dt="2026-02-20T14:18:45.846" v="4135"/>
          <ac:spMkLst>
            <pc:docMk/>
            <pc:sldMk cId="3908385233" sldId="314"/>
            <ac:spMk id="29" creationId="{95DFEAE5-A083-BCCF-5992-D2C080EE65A9}"/>
          </ac:spMkLst>
        </pc:spChg>
        <pc:spChg chg="mod">
          <ac:chgData name="Shawn Lee (UK)" userId="03222456-4c0b-46ad-acb4-22367bd0c05e" providerId="ADAL" clId="{0DB3D54B-15AC-4C22-98A4-738A26DC574F}" dt="2026-02-20T14:18:45.846" v="4136"/>
          <ac:spMkLst>
            <pc:docMk/>
            <pc:sldMk cId="3908385233" sldId="314"/>
            <ac:spMk id="30" creationId="{82C2075D-E2A2-0F87-794F-66D119CF543B}"/>
          </ac:spMkLst>
        </pc:spChg>
        <pc:spChg chg="mod">
          <ac:chgData name="Shawn Lee (UK)" userId="03222456-4c0b-46ad-acb4-22367bd0c05e" providerId="ADAL" clId="{0DB3D54B-15AC-4C22-98A4-738A26DC574F}" dt="2026-02-20T14:18:45.848" v="4137"/>
          <ac:spMkLst>
            <pc:docMk/>
            <pc:sldMk cId="3908385233" sldId="314"/>
            <ac:spMk id="31" creationId="{A0A6906A-39FA-D3D6-252E-914B8D62C1A0}"/>
          </ac:spMkLst>
        </pc:spChg>
        <pc:spChg chg="add del mod modVis">
          <ac:chgData name="Shawn Lee (UK)" userId="03222456-4c0b-46ad-acb4-22367bd0c05e" providerId="ADAL" clId="{0DB3D54B-15AC-4C22-98A4-738A26DC574F}" dt="2026-02-20T14:18:40.085" v="4066"/>
          <ac:spMkLst>
            <pc:docMk/>
            <pc:sldMk cId="3908385233" sldId="314"/>
            <ac:spMk id="32" creationId="{F312AD21-D31A-0C33-3D25-ADEAFC80FE34}"/>
          </ac:spMkLst>
        </pc:spChg>
        <pc:spChg chg="add del mod modVis">
          <ac:chgData name="Shawn Lee (UK)" userId="03222456-4c0b-46ad-acb4-22367bd0c05e" providerId="ADAL" clId="{0DB3D54B-15AC-4C22-98A4-738A26DC574F}" dt="2026-02-20T14:18:45.850" v="4144"/>
          <ac:spMkLst>
            <pc:docMk/>
            <pc:sldMk cId="3908385233" sldId="314"/>
            <ac:spMk id="34" creationId="{9BD4C779-D2F3-5F06-3AC0-11CADC372C25}"/>
          </ac:spMkLst>
        </pc:spChg>
        <pc:spChg chg="mod ord">
          <ac:chgData name="Shawn Lee (UK)" userId="03222456-4c0b-46ad-acb4-22367bd0c05e" providerId="ADAL" clId="{0DB3D54B-15AC-4C22-98A4-738A26DC574F}" dt="2026-02-20T14:18:45.848" v="4139"/>
          <ac:spMkLst>
            <pc:docMk/>
            <pc:sldMk cId="3908385233" sldId="314"/>
            <ac:spMk id="54" creationId="{CDB3050B-4529-CE6F-B0F7-329E422FA411}"/>
          </ac:spMkLst>
        </pc:spChg>
        <pc:spChg chg="mod ord">
          <ac:chgData name="Shawn Lee (UK)" userId="03222456-4c0b-46ad-acb4-22367bd0c05e" providerId="ADAL" clId="{0DB3D54B-15AC-4C22-98A4-738A26DC574F}" dt="2026-02-20T14:18:45.848" v="4141"/>
          <ac:spMkLst>
            <pc:docMk/>
            <pc:sldMk cId="3908385233" sldId="314"/>
            <ac:spMk id="55" creationId="{FD10F805-AE17-3E08-A2D2-EAF9ABF3B013}"/>
          </ac:spMkLst>
        </pc:spChg>
        <pc:spChg chg="mod">
          <ac:chgData name="Shawn Lee (UK)" userId="03222456-4c0b-46ad-acb4-22367bd0c05e" providerId="ADAL" clId="{0DB3D54B-15AC-4C22-98A4-738A26DC574F}" dt="2026-02-20T14:18:45.840" v="4116"/>
          <ac:spMkLst>
            <pc:docMk/>
            <pc:sldMk cId="3908385233" sldId="314"/>
            <ac:spMk id="58" creationId="{2020BC9B-B389-988C-7EE3-8340A227324B}"/>
          </ac:spMkLst>
        </pc:spChg>
        <pc:spChg chg="mod">
          <ac:chgData name="Shawn Lee (UK)" userId="03222456-4c0b-46ad-acb4-22367bd0c05e" providerId="ADAL" clId="{0DB3D54B-15AC-4C22-98A4-738A26DC574F}" dt="2026-02-20T14:18:45.842" v="4117"/>
          <ac:spMkLst>
            <pc:docMk/>
            <pc:sldMk cId="3908385233" sldId="314"/>
            <ac:spMk id="59" creationId="{2E94E61A-80D5-DCCF-7835-2E7D6EC51A59}"/>
          </ac:spMkLst>
        </pc:spChg>
        <pc:spChg chg="mod">
          <ac:chgData name="Shawn Lee (UK)" userId="03222456-4c0b-46ad-acb4-22367bd0c05e" providerId="ADAL" clId="{0DB3D54B-15AC-4C22-98A4-738A26DC574F}" dt="2026-02-20T14:18:45.842" v="4118"/>
          <ac:spMkLst>
            <pc:docMk/>
            <pc:sldMk cId="3908385233" sldId="314"/>
            <ac:spMk id="60" creationId="{4F6C71C8-70C3-8132-8D6F-76E67C9D8DD3}"/>
          </ac:spMkLst>
        </pc:spChg>
        <pc:spChg chg="mod">
          <ac:chgData name="Shawn Lee (UK)" userId="03222456-4c0b-46ad-acb4-22367bd0c05e" providerId="ADAL" clId="{0DB3D54B-15AC-4C22-98A4-738A26DC574F}" dt="2026-02-20T14:18:45.842" v="4119"/>
          <ac:spMkLst>
            <pc:docMk/>
            <pc:sldMk cId="3908385233" sldId="314"/>
            <ac:spMk id="61" creationId="{CFB97BD3-23DE-4D8A-D976-79CD0C6BCA33}"/>
          </ac:spMkLst>
        </pc:spChg>
        <pc:spChg chg="mod">
          <ac:chgData name="Shawn Lee (UK)" userId="03222456-4c0b-46ad-acb4-22367bd0c05e" providerId="ADAL" clId="{0DB3D54B-15AC-4C22-98A4-738A26DC574F}" dt="2026-02-20T14:18:45.842" v="4120"/>
          <ac:spMkLst>
            <pc:docMk/>
            <pc:sldMk cId="3908385233" sldId="314"/>
            <ac:spMk id="62" creationId="{5D4BB978-9199-8E3E-1087-E2C194B84CC5}"/>
          </ac:spMkLst>
        </pc:spChg>
        <pc:spChg chg="mod">
          <ac:chgData name="Shawn Lee (UK)" userId="03222456-4c0b-46ad-acb4-22367bd0c05e" providerId="ADAL" clId="{0DB3D54B-15AC-4C22-98A4-738A26DC574F}" dt="2026-02-20T14:18:45.842" v="4121"/>
          <ac:spMkLst>
            <pc:docMk/>
            <pc:sldMk cId="3908385233" sldId="314"/>
            <ac:spMk id="63" creationId="{3070C2C7-BBA6-4B58-0FCF-73670962962A}"/>
          </ac:spMkLst>
        </pc:spChg>
        <pc:spChg chg="mod">
          <ac:chgData name="Shawn Lee (UK)" userId="03222456-4c0b-46ad-acb4-22367bd0c05e" providerId="ADAL" clId="{0DB3D54B-15AC-4C22-98A4-738A26DC574F}" dt="2026-02-20T14:18:45.842" v="4122"/>
          <ac:spMkLst>
            <pc:docMk/>
            <pc:sldMk cId="3908385233" sldId="314"/>
            <ac:spMk id="64" creationId="{5D6CB59E-34AB-99D2-75D8-487C748E7BC9}"/>
          </ac:spMkLst>
        </pc:spChg>
        <pc:spChg chg="mod">
          <ac:chgData name="Shawn Lee (UK)" userId="03222456-4c0b-46ad-acb4-22367bd0c05e" providerId="ADAL" clId="{0DB3D54B-15AC-4C22-98A4-738A26DC574F}" dt="2026-02-20T14:18:45.842" v="4123"/>
          <ac:spMkLst>
            <pc:docMk/>
            <pc:sldMk cId="3908385233" sldId="314"/>
            <ac:spMk id="65" creationId="{6136E10F-D5FA-1FA1-62E5-7872D7D59ECC}"/>
          </ac:spMkLst>
        </pc:spChg>
        <pc:graphicFrameChg chg="mod">
          <ac:chgData name="Shawn Lee (UK)" userId="03222456-4c0b-46ad-acb4-22367bd0c05e" providerId="ADAL" clId="{0DB3D54B-15AC-4C22-98A4-738A26DC574F}" dt="2026-02-20T14:18:45.850" v="4146"/>
          <ac:graphicFrameMkLst>
            <pc:docMk/>
            <pc:sldMk cId="3908385233" sldId="314"/>
            <ac:graphicFrameMk id="4" creationId="{BB183F6A-52BF-68AC-5DBC-8A697DA7CFFC}"/>
          </ac:graphicFrameMkLst>
        </pc:graphicFrameChg>
        <pc:graphicFrameChg chg="add del mod ord">
          <ac:chgData name="Shawn Lee (UK)" userId="03222456-4c0b-46ad-acb4-22367bd0c05e" providerId="ADAL" clId="{0DB3D54B-15AC-4C22-98A4-738A26DC574F}" dt="2026-02-20T14:18:29.060" v="3577"/>
          <ac:graphicFrameMkLst>
            <pc:docMk/>
            <pc:sldMk cId="3908385233" sldId="314"/>
            <ac:graphicFrameMk id="7" creationId="{6973BD6C-F01D-C9C0-BC86-837515E72B2A}"/>
          </ac:graphicFrameMkLst>
        </pc:graphicFrameChg>
        <pc:graphicFrameChg chg="add del mod ord">
          <ac:chgData name="Shawn Lee (UK)" userId="03222456-4c0b-46ad-acb4-22367bd0c05e" providerId="ADAL" clId="{0DB3D54B-15AC-4C22-98A4-738A26DC574F}" dt="2026-02-20T14:18:31.244" v="3671"/>
          <ac:graphicFrameMkLst>
            <pc:docMk/>
            <pc:sldMk cId="3908385233" sldId="314"/>
            <ac:graphicFrameMk id="13" creationId="{1937E8D2-22FB-F2AC-D934-673C40EFACC3}"/>
          </ac:graphicFrameMkLst>
        </pc:graphicFrameChg>
        <pc:graphicFrameChg chg="add del mod ord">
          <ac:chgData name="Shawn Lee (UK)" userId="03222456-4c0b-46ad-acb4-22367bd0c05e" providerId="ADAL" clId="{0DB3D54B-15AC-4C22-98A4-738A26DC574F}" dt="2026-02-20T14:18:36.971" v="3805"/>
          <ac:graphicFrameMkLst>
            <pc:docMk/>
            <pc:sldMk cId="3908385233" sldId="314"/>
            <ac:graphicFrameMk id="15" creationId="{619B3302-D0FC-516B-4D48-F3475DD7C740}"/>
          </ac:graphicFrameMkLst>
        </pc:graphicFrameChg>
        <pc:graphicFrameChg chg="add del mod ord">
          <ac:chgData name="Shawn Lee (UK)" userId="03222456-4c0b-46ad-acb4-22367bd0c05e" providerId="ADAL" clId="{0DB3D54B-15AC-4C22-98A4-738A26DC574F}" dt="2026-02-20T14:18:38.636" v="3885"/>
          <ac:graphicFrameMkLst>
            <pc:docMk/>
            <pc:sldMk cId="3908385233" sldId="314"/>
            <ac:graphicFrameMk id="18" creationId="{E161C674-AEC0-0500-7963-732589E9873D}"/>
          </ac:graphicFrameMkLst>
        </pc:graphicFrameChg>
        <pc:graphicFrameChg chg="add del mod ord">
          <ac:chgData name="Shawn Lee (UK)" userId="03222456-4c0b-46ad-acb4-22367bd0c05e" providerId="ADAL" clId="{0DB3D54B-15AC-4C22-98A4-738A26DC574F}" dt="2026-02-20T14:18:40.060" v="4025"/>
          <ac:graphicFrameMkLst>
            <pc:docMk/>
            <pc:sldMk cId="3908385233" sldId="314"/>
            <ac:graphicFrameMk id="20" creationId="{A3D3EA52-BB4B-E0A3-3F4F-13B30B509B97}"/>
          </ac:graphicFrameMkLst>
        </pc:graphicFrameChg>
        <pc:graphicFrameChg chg="add del mod ord">
          <ac:chgData name="Shawn Lee (UK)" userId="03222456-4c0b-46ad-acb4-22367bd0c05e" providerId="ADAL" clId="{0DB3D54B-15AC-4C22-98A4-738A26DC574F}" dt="2026-02-20T14:18:45.822" v="4103"/>
          <ac:graphicFrameMkLst>
            <pc:docMk/>
            <pc:sldMk cId="3908385233" sldId="314"/>
            <ac:graphicFrameMk id="33" creationId="{46D9D93C-4776-2859-3523-B4D57315C7E8}"/>
          </ac:graphicFrameMkLst>
        </pc:graphicFrameChg>
        <pc:graphicFrameChg chg="add mod ord">
          <ac:chgData name="Shawn Lee (UK)" userId="03222456-4c0b-46ad-acb4-22367bd0c05e" providerId="ADAL" clId="{0DB3D54B-15AC-4C22-98A4-738A26DC574F}" dt="2026-02-20T14:18:45.840" v="4115"/>
          <ac:graphicFrameMkLst>
            <pc:docMk/>
            <pc:sldMk cId="3908385233" sldId="314"/>
            <ac:graphicFrameMk id="35" creationId="{0EAE9FC2-412C-6AD5-C053-29CBCA0C6725}"/>
          </ac:graphicFrameMkLst>
        </pc:graphicFrameChg>
        <pc:graphicFrameChg chg="del">
          <ac:chgData name="Shawn Lee (UK)" userId="03222456-4c0b-46ad-acb4-22367bd0c05e" providerId="ADAL" clId="{0DB3D54B-15AC-4C22-98A4-738A26DC574F}" dt="2026-02-20T14:18:24.345" v="3442"/>
          <ac:graphicFrameMkLst>
            <pc:docMk/>
            <pc:sldMk cId="3908385233" sldId="314"/>
            <ac:graphicFrameMk id="108" creationId="{5A5212CF-EDE3-54C3-5CE0-699EEF271E5C}"/>
          </ac:graphicFrameMkLst>
        </pc:graphicFrameChg>
        <pc:picChg chg="mod ord">
          <ac:chgData name="Shawn Lee (UK)" userId="03222456-4c0b-46ad-acb4-22367bd0c05e" providerId="ADAL" clId="{0DB3D54B-15AC-4C22-98A4-738A26DC574F}" dt="2026-02-20T14:18:45.840" v="4113"/>
          <ac:picMkLst>
            <pc:docMk/>
            <pc:sldMk cId="3908385233" sldId="314"/>
            <ac:picMk id="2" creationId="{E0AFA1B5-CE8D-31BB-8035-5A1C742AB3BD}"/>
          </ac:picMkLst>
        </pc:picChg>
      </pc:sldChg>
      <pc:sldChg chg="addSp delSp modSp mod">
        <pc:chgData name="Shawn Lee (UK)" userId="03222456-4c0b-46ad-acb4-22367bd0c05e" providerId="ADAL" clId="{0DB3D54B-15AC-4C22-98A4-738A26DC574F}" dt="2026-02-20T14:20:19.103" v="4588"/>
        <pc:sldMkLst>
          <pc:docMk/>
          <pc:sldMk cId="1895231739" sldId="315"/>
        </pc:sldMkLst>
        <pc:spChg chg="mod ord">
          <ac:chgData name="Shawn Lee (UK)" userId="03222456-4c0b-46ad-acb4-22367bd0c05e" providerId="ADAL" clId="{0DB3D54B-15AC-4C22-98A4-738A26DC574F}" dt="2026-02-20T14:20:19.076" v="4521"/>
          <ac:spMkLst>
            <pc:docMk/>
            <pc:sldMk cId="1895231739" sldId="315"/>
            <ac:spMk id="3" creationId="{9D862941-6717-D4FB-3A43-8E34C191E210}"/>
          </ac:spMkLst>
        </pc:spChg>
        <pc:spChg chg="mod">
          <ac:chgData name="Shawn Lee (UK)" userId="03222456-4c0b-46ad-acb4-22367bd0c05e" providerId="ADAL" clId="{0DB3D54B-15AC-4C22-98A4-738A26DC574F}" dt="2026-02-20T14:20:19.076" v="4522"/>
          <ac:spMkLst>
            <pc:docMk/>
            <pc:sldMk cId="1895231739" sldId="315"/>
            <ac:spMk id="5" creationId="{A0E19519-264A-1216-FD1F-38299BFE7927}"/>
          </ac:spMkLst>
        </pc:spChg>
        <pc:spChg chg="add del mod modVis">
          <ac:chgData name="Shawn Lee (UK)" userId="03222456-4c0b-46ad-acb4-22367bd0c05e" providerId="ADAL" clId="{0DB3D54B-15AC-4C22-98A4-738A26DC574F}" dt="2026-02-20T14:20:19.103" v="4586"/>
          <ac:spMkLst>
            <pc:docMk/>
            <pc:sldMk cId="1895231739" sldId="315"/>
            <ac:spMk id="6" creationId="{776D3AD6-BAB9-D866-86BE-09CE84C1E7FA}"/>
          </ac:spMkLst>
        </pc:spChg>
        <pc:spChg chg="add mod ord">
          <ac:chgData name="Shawn Lee (UK)" userId="03222456-4c0b-46ad-acb4-22367bd0c05e" providerId="ADAL" clId="{0DB3D54B-15AC-4C22-98A4-738A26DC574F}" dt="2026-02-20T14:20:19.097" v="4572"/>
          <ac:spMkLst>
            <pc:docMk/>
            <pc:sldMk cId="1895231739" sldId="315"/>
            <ac:spMk id="7" creationId="{60EDA8A3-6375-4643-FC5F-C60B2D2AB821}"/>
          </ac:spMkLst>
        </pc:spChg>
        <pc:spChg chg="mod">
          <ac:chgData name="Shawn Lee (UK)" userId="03222456-4c0b-46ad-acb4-22367bd0c05e" providerId="ADAL" clId="{0DB3D54B-15AC-4C22-98A4-738A26DC574F}" dt="2026-02-20T14:20:19.076" v="4528"/>
          <ac:spMkLst>
            <pc:docMk/>
            <pc:sldMk cId="1895231739" sldId="315"/>
            <ac:spMk id="8" creationId="{3D6D4139-E43E-1305-0922-AD539B89B8B4}"/>
          </ac:spMkLst>
        </pc:spChg>
        <pc:spChg chg="mod">
          <ac:chgData name="Shawn Lee (UK)" userId="03222456-4c0b-46ad-acb4-22367bd0c05e" providerId="ADAL" clId="{0DB3D54B-15AC-4C22-98A4-738A26DC574F}" dt="2026-02-20T14:20:19.076" v="4529"/>
          <ac:spMkLst>
            <pc:docMk/>
            <pc:sldMk cId="1895231739" sldId="315"/>
            <ac:spMk id="9" creationId="{2945E3E4-A3DA-C5BC-4551-4A816F3A0452}"/>
          </ac:spMkLst>
        </pc:spChg>
        <pc:spChg chg="mod">
          <ac:chgData name="Shawn Lee (UK)" userId="03222456-4c0b-46ad-acb4-22367bd0c05e" providerId="ADAL" clId="{0DB3D54B-15AC-4C22-98A4-738A26DC574F}" dt="2026-02-20T14:20:19.076" v="4530"/>
          <ac:spMkLst>
            <pc:docMk/>
            <pc:sldMk cId="1895231739" sldId="315"/>
            <ac:spMk id="10" creationId="{0BB05FBA-1C27-6763-1397-1A1C9191D104}"/>
          </ac:spMkLst>
        </pc:spChg>
        <pc:spChg chg="mod">
          <ac:chgData name="Shawn Lee (UK)" userId="03222456-4c0b-46ad-acb4-22367bd0c05e" providerId="ADAL" clId="{0DB3D54B-15AC-4C22-98A4-738A26DC574F}" dt="2026-02-20T14:20:19.085" v="4531"/>
          <ac:spMkLst>
            <pc:docMk/>
            <pc:sldMk cId="1895231739" sldId="315"/>
            <ac:spMk id="21" creationId="{C1C9DEF7-7732-8386-0A58-E4E9EBAD9C9B}"/>
          </ac:spMkLst>
        </pc:spChg>
        <pc:spChg chg="mod">
          <ac:chgData name="Shawn Lee (UK)" userId="03222456-4c0b-46ad-acb4-22367bd0c05e" providerId="ADAL" clId="{0DB3D54B-15AC-4C22-98A4-738A26DC574F}" dt="2026-02-20T14:20:19.086" v="4532"/>
          <ac:spMkLst>
            <pc:docMk/>
            <pc:sldMk cId="1895231739" sldId="315"/>
            <ac:spMk id="22" creationId="{C4EEED6D-3EF4-F0E9-95C2-F114E87D0E3D}"/>
          </ac:spMkLst>
        </pc:spChg>
        <pc:spChg chg="mod">
          <ac:chgData name="Shawn Lee (UK)" userId="03222456-4c0b-46ad-acb4-22367bd0c05e" providerId="ADAL" clId="{0DB3D54B-15AC-4C22-98A4-738A26DC574F}" dt="2026-02-20T14:20:19.086" v="4533"/>
          <ac:spMkLst>
            <pc:docMk/>
            <pc:sldMk cId="1895231739" sldId="315"/>
            <ac:spMk id="23" creationId="{F486E3DE-2FD7-E62B-B61C-90EEA10EA477}"/>
          </ac:spMkLst>
        </pc:spChg>
        <pc:spChg chg="mod">
          <ac:chgData name="Shawn Lee (UK)" userId="03222456-4c0b-46ad-acb4-22367bd0c05e" providerId="ADAL" clId="{0DB3D54B-15AC-4C22-98A4-738A26DC574F}" dt="2026-02-20T14:20:19.086" v="4534"/>
          <ac:spMkLst>
            <pc:docMk/>
            <pc:sldMk cId="1895231739" sldId="315"/>
            <ac:spMk id="24" creationId="{0E1683CC-E4F6-DAEC-1602-CB672AE55719}"/>
          </ac:spMkLst>
        </pc:spChg>
        <pc:spChg chg="mod">
          <ac:chgData name="Shawn Lee (UK)" userId="03222456-4c0b-46ad-acb4-22367bd0c05e" providerId="ADAL" clId="{0DB3D54B-15AC-4C22-98A4-738A26DC574F}" dt="2026-02-20T14:20:19.087" v="4535"/>
          <ac:spMkLst>
            <pc:docMk/>
            <pc:sldMk cId="1895231739" sldId="315"/>
            <ac:spMk id="25" creationId="{B5F6B603-8A35-46BD-D5DD-B0CB296FA573}"/>
          </ac:spMkLst>
        </pc:spChg>
        <pc:spChg chg="mod">
          <ac:chgData name="Shawn Lee (UK)" userId="03222456-4c0b-46ad-acb4-22367bd0c05e" providerId="ADAL" clId="{0DB3D54B-15AC-4C22-98A4-738A26DC574F}" dt="2026-02-20T14:20:19.087" v="4536"/>
          <ac:spMkLst>
            <pc:docMk/>
            <pc:sldMk cId="1895231739" sldId="315"/>
            <ac:spMk id="26" creationId="{5C04E2E6-9CD8-2774-3404-43BB367C1A22}"/>
          </ac:spMkLst>
        </pc:spChg>
        <pc:spChg chg="mod">
          <ac:chgData name="Shawn Lee (UK)" userId="03222456-4c0b-46ad-acb4-22367bd0c05e" providerId="ADAL" clId="{0DB3D54B-15AC-4C22-98A4-738A26DC574F}" dt="2026-02-20T14:20:19.088" v="4537"/>
          <ac:spMkLst>
            <pc:docMk/>
            <pc:sldMk cId="1895231739" sldId="315"/>
            <ac:spMk id="27" creationId="{EE3A7628-3475-9324-3B59-0DC68CF8E495}"/>
          </ac:spMkLst>
        </pc:spChg>
        <pc:spChg chg="mod">
          <ac:chgData name="Shawn Lee (UK)" userId="03222456-4c0b-46ad-acb4-22367bd0c05e" providerId="ADAL" clId="{0DB3D54B-15AC-4C22-98A4-738A26DC574F}" dt="2026-02-20T14:20:19.088" v="4538"/>
          <ac:spMkLst>
            <pc:docMk/>
            <pc:sldMk cId="1895231739" sldId="315"/>
            <ac:spMk id="28" creationId="{61BD79AA-57C3-B83A-F3B9-D2AD1950619A}"/>
          </ac:spMkLst>
        </pc:spChg>
        <pc:spChg chg="mod">
          <ac:chgData name="Shawn Lee (UK)" userId="03222456-4c0b-46ad-acb4-22367bd0c05e" providerId="ADAL" clId="{0DB3D54B-15AC-4C22-98A4-738A26DC574F}" dt="2026-02-20T14:20:19.088" v="4539"/>
          <ac:spMkLst>
            <pc:docMk/>
            <pc:sldMk cId="1895231739" sldId="315"/>
            <ac:spMk id="29" creationId="{DB7DC2E7-89F7-1445-8B89-2E5749ED55B8}"/>
          </ac:spMkLst>
        </pc:spChg>
        <pc:spChg chg="mod">
          <ac:chgData name="Shawn Lee (UK)" userId="03222456-4c0b-46ad-acb4-22367bd0c05e" providerId="ADAL" clId="{0DB3D54B-15AC-4C22-98A4-738A26DC574F}" dt="2026-02-20T14:20:19.089" v="4540"/>
          <ac:spMkLst>
            <pc:docMk/>
            <pc:sldMk cId="1895231739" sldId="315"/>
            <ac:spMk id="30" creationId="{6EA44844-7DAE-539F-B03A-6D551F18E31E}"/>
          </ac:spMkLst>
        </pc:spChg>
        <pc:spChg chg="mod">
          <ac:chgData name="Shawn Lee (UK)" userId="03222456-4c0b-46ad-acb4-22367bd0c05e" providerId="ADAL" clId="{0DB3D54B-15AC-4C22-98A4-738A26DC574F}" dt="2026-02-20T14:20:19.089" v="4541"/>
          <ac:spMkLst>
            <pc:docMk/>
            <pc:sldMk cId="1895231739" sldId="315"/>
            <ac:spMk id="31" creationId="{96374280-9B26-61EB-A6AB-EE7482B3C161}"/>
          </ac:spMkLst>
        </pc:spChg>
        <pc:spChg chg="mod">
          <ac:chgData name="Shawn Lee (UK)" userId="03222456-4c0b-46ad-acb4-22367bd0c05e" providerId="ADAL" clId="{0DB3D54B-15AC-4C22-98A4-738A26DC574F}" dt="2026-02-20T14:20:19.089" v="4542"/>
          <ac:spMkLst>
            <pc:docMk/>
            <pc:sldMk cId="1895231739" sldId="315"/>
            <ac:spMk id="67" creationId="{198D72AD-CAA3-DE07-8A96-A926AEC97B92}"/>
          </ac:spMkLst>
        </pc:spChg>
        <pc:spChg chg="mod ord">
          <ac:chgData name="Shawn Lee (UK)" userId="03222456-4c0b-46ad-acb4-22367bd0c05e" providerId="ADAL" clId="{0DB3D54B-15AC-4C22-98A4-738A26DC574F}" dt="2026-02-20T14:20:19.093" v="4554"/>
          <ac:spMkLst>
            <pc:docMk/>
            <pc:sldMk cId="1895231739" sldId="315"/>
            <ac:spMk id="88" creationId="{88009FB7-EF91-1699-29F0-48843754FF1E}"/>
          </ac:spMkLst>
        </pc:spChg>
        <pc:spChg chg="mod ord">
          <ac:chgData name="Shawn Lee (UK)" userId="03222456-4c0b-46ad-acb4-22367bd0c05e" providerId="ADAL" clId="{0DB3D54B-15AC-4C22-98A4-738A26DC574F}" dt="2026-02-20T14:20:19.090" v="4544"/>
          <ac:spMkLst>
            <pc:docMk/>
            <pc:sldMk cId="1895231739" sldId="315"/>
            <ac:spMk id="141" creationId="{4AE7A21E-DEFB-0A03-6A81-16058F64986F}"/>
          </ac:spMkLst>
        </pc:spChg>
        <pc:spChg chg="mod ord">
          <ac:chgData name="Shawn Lee (UK)" userId="03222456-4c0b-46ad-acb4-22367bd0c05e" providerId="ADAL" clId="{0DB3D54B-15AC-4C22-98A4-738A26DC574F}" dt="2026-02-20T14:20:19.090" v="4546"/>
          <ac:spMkLst>
            <pc:docMk/>
            <pc:sldMk cId="1895231739" sldId="315"/>
            <ac:spMk id="142" creationId="{907F1DE6-C959-D466-04C7-8AA3539B1CB0}"/>
          </ac:spMkLst>
        </pc:spChg>
        <pc:spChg chg="mod ord">
          <ac:chgData name="Shawn Lee (UK)" userId="03222456-4c0b-46ad-acb4-22367bd0c05e" providerId="ADAL" clId="{0DB3D54B-15AC-4C22-98A4-738A26DC574F}" dt="2026-02-20T14:20:19.091" v="4548"/>
          <ac:spMkLst>
            <pc:docMk/>
            <pc:sldMk cId="1895231739" sldId="315"/>
            <ac:spMk id="143" creationId="{579AE12E-577A-5B05-DFAD-6BB63E6FF967}"/>
          </ac:spMkLst>
        </pc:spChg>
        <pc:spChg chg="mod ord">
          <ac:chgData name="Shawn Lee (UK)" userId="03222456-4c0b-46ad-acb4-22367bd0c05e" providerId="ADAL" clId="{0DB3D54B-15AC-4C22-98A4-738A26DC574F}" dt="2026-02-20T14:20:19.092" v="4550"/>
          <ac:spMkLst>
            <pc:docMk/>
            <pc:sldMk cId="1895231739" sldId="315"/>
            <ac:spMk id="144" creationId="{90D16DF9-196E-59C0-0DA6-F284F4B97DAA}"/>
          </ac:spMkLst>
        </pc:spChg>
        <pc:spChg chg="mod ord">
          <ac:chgData name="Shawn Lee (UK)" userId="03222456-4c0b-46ad-acb4-22367bd0c05e" providerId="ADAL" clId="{0DB3D54B-15AC-4C22-98A4-738A26DC574F}" dt="2026-02-20T14:20:19.092" v="4552"/>
          <ac:spMkLst>
            <pc:docMk/>
            <pc:sldMk cId="1895231739" sldId="315"/>
            <ac:spMk id="145" creationId="{187827E3-A5FB-D6AA-4C06-1907B39EECB6}"/>
          </ac:spMkLst>
        </pc:spChg>
        <pc:spChg chg="mod ord">
          <ac:chgData name="Shawn Lee (UK)" userId="03222456-4c0b-46ad-acb4-22367bd0c05e" providerId="ADAL" clId="{0DB3D54B-15AC-4C22-98A4-738A26DC574F}" dt="2026-02-20T14:20:19.093" v="4556"/>
          <ac:spMkLst>
            <pc:docMk/>
            <pc:sldMk cId="1895231739" sldId="315"/>
            <ac:spMk id="146" creationId="{39A8844C-4B4C-E4B2-7240-9A68C940A5DA}"/>
          </ac:spMkLst>
        </pc:spChg>
        <pc:spChg chg="mod ord">
          <ac:chgData name="Shawn Lee (UK)" userId="03222456-4c0b-46ad-acb4-22367bd0c05e" providerId="ADAL" clId="{0DB3D54B-15AC-4C22-98A4-738A26DC574F}" dt="2026-02-20T14:20:19.094" v="4558"/>
          <ac:spMkLst>
            <pc:docMk/>
            <pc:sldMk cId="1895231739" sldId="315"/>
            <ac:spMk id="147" creationId="{E6C4ECAF-23FC-8B34-83F8-21C24254DAF8}"/>
          </ac:spMkLst>
        </pc:spChg>
        <pc:spChg chg="mod ord">
          <ac:chgData name="Shawn Lee (UK)" userId="03222456-4c0b-46ad-acb4-22367bd0c05e" providerId="ADAL" clId="{0DB3D54B-15AC-4C22-98A4-738A26DC574F}" dt="2026-02-20T14:20:19.094" v="4560"/>
          <ac:spMkLst>
            <pc:docMk/>
            <pc:sldMk cId="1895231739" sldId="315"/>
            <ac:spMk id="148" creationId="{DE87F151-A9B8-3FA0-C426-C733553D2253}"/>
          </ac:spMkLst>
        </pc:spChg>
        <pc:spChg chg="mod ord">
          <ac:chgData name="Shawn Lee (UK)" userId="03222456-4c0b-46ad-acb4-22367bd0c05e" providerId="ADAL" clId="{0DB3D54B-15AC-4C22-98A4-738A26DC574F}" dt="2026-02-20T14:20:19.094" v="4562"/>
          <ac:spMkLst>
            <pc:docMk/>
            <pc:sldMk cId="1895231739" sldId="315"/>
            <ac:spMk id="149" creationId="{F0353F2D-3268-B999-C23D-865BBCF0B278}"/>
          </ac:spMkLst>
        </pc:spChg>
        <pc:spChg chg="mod ord">
          <ac:chgData name="Shawn Lee (UK)" userId="03222456-4c0b-46ad-acb4-22367bd0c05e" providerId="ADAL" clId="{0DB3D54B-15AC-4C22-98A4-738A26DC574F}" dt="2026-02-20T14:20:19.095" v="4564"/>
          <ac:spMkLst>
            <pc:docMk/>
            <pc:sldMk cId="1895231739" sldId="315"/>
            <ac:spMk id="150" creationId="{9E2E34F8-EB7F-A422-31D4-BEF6EBB90DE3}"/>
          </ac:spMkLst>
        </pc:spChg>
        <pc:spChg chg="mod ord">
          <ac:chgData name="Shawn Lee (UK)" userId="03222456-4c0b-46ad-acb4-22367bd0c05e" providerId="ADAL" clId="{0DB3D54B-15AC-4C22-98A4-738A26DC574F}" dt="2026-02-20T14:20:19.095" v="4566"/>
          <ac:spMkLst>
            <pc:docMk/>
            <pc:sldMk cId="1895231739" sldId="315"/>
            <ac:spMk id="151" creationId="{62461ACA-A213-3C1F-1834-655A148CDC23}"/>
          </ac:spMkLst>
        </pc:spChg>
        <pc:spChg chg="mod ord">
          <ac:chgData name="Shawn Lee (UK)" userId="03222456-4c0b-46ad-acb4-22367bd0c05e" providerId="ADAL" clId="{0DB3D54B-15AC-4C22-98A4-738A26DC574F}" dt="2026-02-20T14:20:19.096" v="4568"/>
          <ac:spMkLst>
            <pc:docMk/>
            <pc:sldMk cId="1895231739" sldId="315"/>
            <ac:spMk id="152" creationId="{93FC9F70-5502-265C-2202-E82C44A67DBA}"/>
          </ac:spMkLst>
        </pc:spChg>
        <pc:spChg chg="mod ord">
          <ac:chgData name="Shawn Lee (UK)" userId="03222456-4c0b-46ad-acb4-22367bd0c05e" providerId="ADAL" clId="{0DB3D54B-15AC-4C22-98A4-738A26DC574F}" dt="2026-02-20T14:20:19.096" v="4570"/>
          <ac:spMkLst>
            <pc:docMk/>
            <pc:sldMk cId="1895231739" sldId="315"/>
            <ac:spMk id="153" creationId="{AE5F7A1E-83CC-DFFA-70AD-DD7974880B17}"/>
          </ac:spMkLst>
        </pc:spChg>
        <pc:spChg chg="mod">
          <ac:chgData name="Shawn Lee (UK)" userId="03222456-4c0b-46ad-acb4-22367bd0c05e" providerId="ADAL" clId="{0DB3D54B-15AC-4C22-98A4-738A26DC574F}" dt="2026-02-20T14:20:19.099" v="4581"/>
          <ac:spMkLst>
            <pc:docMk/>
            <pc:sldMk cId="1895231739" sldId="315"/>
            <ac:spMk id="165" creationId="{31B90859-D95E-F645-3AC9-ABC5D0682F83}"/>
          </ac:spMkLst>
        </pc:spChg>
        <pc:spChg chg="mod">
          <ac:chgData name="Shawn Lee (UK)" userId="03222456-4c0b-46ad-acb4-22367bd0c05e" providerId="ADAL" clId="{0DB3D54B-15AC-4C22-98A4-738A26DC574F}" dt="2026-02-20T14:20:19.099" v="4582"/>
          <ac:spMkLst>
            <pc:docMk/>
            <pc:sldMk cId="1895231739" sldId="315"/>
            <ac:spMk id="167" creationId="{BBEB4873-36E7-EDFC-81F0-3F295FDBE208}"/>
          </ac:spMkLst>
        </pc:spChg>
        <pc:spChg chg="mod">
          <ac:chgData name="Shawn Lee (UK)" userId="03222456-4c0b-46ad-acb4-22367bd0c05e" providerId="ADAL" clId="{0DB3D54B-15AC-4C22-98A4-738A26DC574F}" dt="2026-02-20T14:20:19.100" v="4583"/>
          <ac:spMkLst>
            <pc:docMk/>
            <pc:sldMk cId="1895231739" sldId="315"/>
            <ac:spMk id="168" creationId="{601A07C2-4379-54AC-49B7-7A6F0B0DC2CD}"/>
          </ac:spMkLst>
        </pc:spChg>
        <pc:spChg chg="mod">
          <ac:chgData name="Shawn Lee (UK)" userId="03222456-4c0b-46ad-acb4-22367bd0c05e" providerId="ADAL" clId="{0DB3D54B-15AC-4C22-98A4-738A26DC574F}" dt="2026-02-20T14:20:19.102" v="4584"/>
          <ac:spMkLst>
            <pc:docMk/>
            <pc:sldMk cId="1895231739" sldId="315"/>
            <ac:spMk id="169" creationId="{0480F473-E726-C520-3292-082905760640}"/>
          </ac:spMkLst>
        </pc:spChg>
        <pc:spChg chg="mod ord">
          <ac:chgData name="Shawn Lee (UK)" userId="03222456-4c0b-46ad-acb4-22367bd0c05e" providerId="ADAL" clId="{0DB3D54B-15AC-4C22-98A4-738A26DC574F}" dt="2026-02-20T14:20:19.097" v="4574"/>
          <ac:spMkLst>
            <pc:docMk/>
            <pc:sldMk cId="1895231739" sldId="315"/>
            <ac:spMk id="171" creationId="{71C4FC37-4A0C-40FA-39B1-E571F2113D3F}"/>
          </ac:spMkLst>
        </pc:spChg>
        <pc:spChg chg="mod ord">
          <ac:chgData name="Shawn Lee (UK)" userId="03222456-4c0b-46ad-acb4-22367bd0c05e" providerId="ADAL" clId="{0DB3D54B-15AC-4C22-98A4-738A26DC574F}" dt="2026-02-20T14:20:19.098" v="4576"/>
          <ac:spMkLst>
            <pc:docMk/>
            <pc:sldMk cId="1895231739" sldId="315"/>
            <ac:spMk id="172" creationId="{3AD4E518-2E20-EC1B-7308-B188333C4BAD}"/>
          </ac:spMkLst>
        </pc:spChg>
        <pc:spChg chg="mod ord">
          <ac:chgData name="Shawn Lee (UK)" userId="03222456-4c0b-46ad-acb4-22367bd0c05e" providerId="ADAL" clId="{0DB3D54B-15AC-4C22-98A4-738A26DC574F}" dt="2026-02-20T14:20:19.098" v="4578"/>
          <ac:spMkLst>
            <pc:docMk/>
            <pc:sldMk cId="1895231739" sldId="315"/>
            <ac:spMk id="173" creationId="{6F4D1C52-0669-858F-74F4-BF1BE099412E}"/>
          </ac:spMkLst>
        </pc:spChg>
        <pc:spChg chg="mod ord">
          <ac:chgData name="Shawn Lee (UK)" userId="03222456-4c0b-46ad-acb4-22367bd0c05e" providerId="ADAL" clId="{0DB3D54B-15AC-4C22-98A4-738A26DC574F}" dt="2026-02-20T14:20:19.099" v="4580"/>
          <ac:spMkLst>
            <pc:docMk/>
            <pc:sldMk cId="1895231739" sldId="315"/>
            <ac:spMk id="174" creationId="{35F1E006-0F6F-CD63-AF90-2190894D3E73}"/>
          </ac:spMkLst>
        </pc:spChg>
        <pc:spChg chg="mod">
          <ac:chgData name="Shawn Lee (UK)" userId="03222456-4c0b-46ad-acb4-22367bd0c05e" providerId="ADAL" clId="{0DB3D54B-15AC-4C22-98A4-738A26DC574F}" dt="2026-02-20T14:20:19.076" v="4527"/>
          <ac:spMkLst>
            <pc:docMk/>
            <pc:sldMk cId="1895231739" sldId="315"/>
            <ac:spMk id="213" creationId="{69802D06-2E85-3CD2-FABB-E58C474FE19B}"/>
          </ac:spMkLst>
        </pc:spChg>
        <pc:graphicFrameChg chg="mod">
          <ac:chgData name="Shawn Lee (UK)" userId="03222456-4c0b-46ad-acb4-22367bd0c05e" providerId="ADAL" clId="{0DB3D54B-15AC-4C22-98A4-738A26DC574F}" dt="2026-02-20T14:20:19.103" v="4588"/>
          <ac:graphicFrameMkLst>
            <pc:docMk/>
            <pc:sldMk cId="1895231739" sldId="315"/>
            <ac:graphicFrameMk id="4" creationId="{EDB8BC8B-DA05-F104-7445-6A9447CE336A}"/>
          </ac:graphicFrameMkLst>
        </pc:graphicFrameChg>
        <pc:graphicFrameChg chg="add mod ord">
          <ac:chgData name="Shawn Lee (UK)" userId="03222456-4c0b-46ad-acb4-22367bd0c05e" providerId="ADAL" clId="{0DB3D54B-15AC-4C22-98A4-738A26DC574F}" dt="2026-02-20T14:20:19.076" v="4526"/>
          <ac:graphicFrameMkLst>
            <pc:docMk/>
            <pc:sldMk cId="1895231739" sldId="315"/>
            <ac:graphicFrameMk id="11" creationId="{F3E394D6-82A5-89D1-BC32-EF792FC9E2F1}"/>
          </ac:graphicFrameMkLst>
        </pc:graphicFrameChg>
        <pc:graphicFrameChg chg="del">
          <ac:chgData name="Shawn Lee (UK)" userId="03222456-4c0b-46ad-acb4-22367bd0c05e" providerId="ADAL" clId="{0DB3D54B-15AC-4C22-98A4-738A26DC574F}" dt="2026-02-20T14:20:19.045" v="4496"/>
          <ac:graphicFrameMkLst>
            <pc:docMk/>
            <pc:sldMk cId="1895231739" sldId="315"/>
            <ac:graphicFrameMk id="231" creationId="{386B841A-84AD-C79C-9370-CA6F41943F6F}"/>
          </ac:graphicFrameMkLst>
        </pc:graphicFrameChg>
        <pc:picChg chg="mod ord">
          <ac:chgData name="Shawn Lee (UK)" userId="03222456-4c0b-46ad-acb4-22367bd0c05e" providerId="ADAL" clId="{0DB3D54B-15AC-4C22-98A4-738A26DC574F}" dt="2026-02-20T14:20:19.076" v="4524"/>
          <ac:picMkLst>
            <pc:docMk/>
            <pc:sldMk cId="1895231739" sldId="315"/>
            <ac:picMk id="2" creationId="{020F4608-B8FC-3F1C-C6EB-7FAFEBCA3946}"/>
          </ac:picMkLst>
        </pc:picChg>
      </pc:sldChg>
      <pc:sldChg chg="addSp delSp modSp mod">
        <pc:chgData name="Shawn Lee (UK)" userId="03222456-4c0b-46ad-acb4-22367bd0c05e" providerId="ADAL" clId="{0DB3D54B-15AC-4C22-98A4-738A26DC574F}" dt="2026-02-20T14:22:17.087" v="5275"/>
        <pc:sldMkLst>
          <pc:docMk/>
          <pc:sldMk cId="2134929351" sldId="316"/>
        </pc:sldMkLst>
        <pc:spChg chg="mod ord">
          <ac:chgData name="Shawn Lee (UK)" userId="03222456-4c0b-46ad-acb4-22367bd0c05e" providerId="ADAL" clId="{0DB3D54B-15AC-4C22-98A4-738A26DC574F}" dt="2026-02-20T14:22:17.047" v="5153"/>
          <ac:spMkLst>
            <pc:docMk/>
            <pc:sldMk cId="2134929351" sldId="316"/>
            <ac:spMk id="3" creationId="{37988085-AAA1-61B9-C320-A4D34877A4AE}"/>
          </ac:spMkLst>
        </pc:spChg>
        <pc:spChg chg="mod">
          <ac:chgData name="Shawn Lee (UK)" userId="03222456-4c0b-46ad-acb4-22367bd0c05e" providerId="ADAL" clId="{0DB3D54B-15AC-4C22-98A4-738A26DC574F}" dt="2026-02-20T14:22:17.048" v="5154"/>
          <ac:spMkLst>
            <pc:docMk/>
            <pc:sldMk cId="2134929351" sldId="316"/>
            <ac:spMk id="5" creationId="{413A6F93-651C-6728-5E4C-9346610DFDB8}"/>
          </ac:spMkLst>
        </pc:spChg>
        <pc:spChg chg="add mod">
          <ac:chgData name="Shawn Lee (UK)" userId="03222456-4c0b-46ad-acb4-22367bd0c05e" providerId="ADAL" clId="{0DB3D54B-15AC-4C22-98A4-738A26DC574F}" dt="2026-02-20T14:22:17.066" v="5219"/>
          <ac:spMkLst>
            <pc:docMk/>
            <pc:sldMk cId="2134929351" sldId="316"/>
            <ac:spMk id="6" creationId="{AEA69C46-C8FD-85BC-13FF-6748A6A4996F}"/>
          </ac:spMkLst>
        </pc:spChg>
        <pc:spChg chg="add del mod modVis">
          <ac:chgData name="Shawn Lee (UK)" userId="03222456-4c0b-46ad-acb4-22367bd0c05e" providerId="ADAL" clId="{0DB3D54B-15AC-4C22-98A4-738A26DC574F}" dt="2026-02-20T14:22:12.983" v="5075"/>
          <ac:spMkLst>
            <pc:docMk/>
            <pc:sldMk cId="2134929351" sldId="316"/>
            <ac:spMk id="7" creationId="{02674E6E-D702-D940-9E64-64AF0A9866D9}"/>
          </ac:spMkLst>
        </pc:spChg>
        <pc:spChg chg="mod">
          <ac:chgData name="Shawn Lee (UK)" userId="03222456-4c0b-46ad-acb4-22367bd0c05e" providerId="ADAL" clId="{0DB3D54B-15AC-4C22-98A4-738A26DC574F}" dt="2026-02-20T14:22:17.049" v="5176"/>
          <ac:spMkLst>
            <pc:docMk/>
            <pc:sldMk cId="2134929351" sldId="316"/>
            <ac:spMk id="8" creationId="{0AD1C6E0-BC7D-D8A2-20F5-2E7507E4C29A}"/>
          </ac:spMkLst>
        </pc:spChg>
        <pc:spChg chg="add del mod modVis">
          <ac:chgData name="Shawn Lee (UK)" userId="03222456-4c0b-46ad-acb4-22367bd0c05e" providerId="ADAL" clId="{0DB3D54B-15AC-4C22-98A4-738A26DC574F}" dt="2026-02-20T14:22:17.085" v="5273"/>
          <ac:spMkLst>
            <pc:docMk/>
            <pc:sldMk cId="2134929351" sldId="316"/>
            <ac:spMk id="10" creationId="{B712A618-AE2E-9165-C04E-853DB05FB89F}"/>
          </ac:spMkLst>
        </pc:spChg>
        <pc:spChg chg="mod">
          <ac:chgData name="Shawn Lee (UK)" userId="03222456-4c0b-46ad-acb4-22367bd0c05e" providerId="ADAL" clId="{0DB3D54B-15AC-4C22-98A4-738A26DC574F}" dt="2026-02-20T14:22:17.049" v="5192"/>
          <ac:spMkLst>
            <pc:docMk/>
            <pc:sldMk cId="2134929351" sldId="316"/>
            <ac:spMk id="12" creationId="{B4E6F2A5-B8AB-23B3-A6F6-02EC0DEE0E4D}"/>
          </ac:spMkLst>
        </pc:spChg>
        <pc:spChg chg="mod">
          <ac:chgData name="Shawn Lee (UK)" userId="03222456-4c0b-46ad-acb4-22367bd0c05e" providerId="ADAL" clId="{0DB3D54B-15AC-4C22-98A4-738A26DC574F}" dt="2026-02-20T14:22:17.049" v="5196"/>
          <ac:spMkLst>
            <pc:docMk/>
            <pc:sldMk cId="2134929351" sldId="316"/>
            <ac:spMk id="13" creationId="{864A5BBE-4AA3-F012-E1B1-9B53E2748010}"/>
          </ac:spMkLst>
        </pc:spChg>
        <pc:spChg chg="mod">
          <ac:chgData name="Shawn Lee (UK)" userId="03222456-4c0b-46ad-acb4-22367bd0c05e" providerId="ADAL" clId="{0DB3D54B-15AC-4C22-98A4-738A26DC574F}" dt="2026-02-20T14:22:17.065" v="5200"/>
          <ac:spMkLst>
            <pc:docMk/>
            <pc:sldMk cId="2134929351" sldId="316"/>
            <ac:spMk id="14" creationId="{7120706B-CA92-8729-1326-BEA06EFB3106}"/>
          </ac:spMkLst>
        </pc:spChg>
        <pc:spChg chg="mod">
          <ac:chgData name="Shawn Lee (UK)" userId="03222456-4c0b-46ad-acb4-22367bd0c05e" providerId="ADAL" clId="{0DB3D54B-15AC-4C22-98A4-738A26DC574F}" dt="2026-02-20T14:22:17.066" v="5204"/>
          <ac:spMkLst>
            <pc:docMk/>
            <pc:sldMk cId="2134929351" sldId="316"/>
            <ac:spMk id="15" creationId="{F54CAA42-5EB4-18FD-34CB-826AE938F7B9}"/>
          </ac:spMkLst>
        </pc:spChg>
        <pc:spChg chg="mod">
          <ac:chgData name="Shawn Lee (UK)" userId="03222456-4c0b-46ad-acb4-22367bd0c05e" providerId="ADAL" clId="{0DB3D54B-15AC-4C22-98A4-738A26DC574F}" dt="2026-02-20T14:22:17.066" v="5208"/>
          <ac:spMkLst>
            <pc:docMk/>
            <pc:sldMk cId="2134929351" sldId="316"/>
            <ac:spMk id="16" creationId="{481257C3-CEE6-BBCF-6BBA-ADA93E304105}"/>
          </ac:spMkLst>
        </pc:spChg>
        <pc:spChg chg="mod">
          <ac:chgData name="Shawn Lee (UK)" userId="03222456-4c0b-46ad-acb4-22367bd0c05e" providerId="ADAL" clId="{0DB3D54B-15AC-4C22-98A4-738A26DC574F}" dt="2026-02-20T14:22:17.066" v="5212"/>
          <ac:spMkLst>
            <pc:docMk/>
            <pc:sldMk cId="2134929351" sldId="316"/>
            <ac:spMk id="17" creationId="{AF7932FC-04F6-524C-6334-7436294C5B35}"/>
          </ac:spMkLst>
        </pc:spChg>
        <pc:spChg chg="mod">
          <ac:chgData name="Shawn Lee (UK)" userId="03222456-4c0b-46ad-acb4-22367bd0c05e" providerId="ADAL" clId="{0DB3D54B-15AC-4C22-98A4-738A26DC574F}" dt="2026-02-20T14:22:17.066" v="5216"/>
          <ac:spMkLst>
            <pc:docMk/>
            <pc:sldMk cId="2134929351" sldId="316"/>
            <ac:spMk id="18" creationId="{5BE61FC1-A055-186B-5AA5-922C2339AE61}"/>
          </ac:spMkLst>
        </pc:spChg>
        <pc:spChg chg="mod">
          <ac:chgData name="Shawn Lee (UK)" userId="03222456-4c0b-46ad-acb4-22367bd0c05e" providerId="ADAL" clId="{0DB3D54B-15AC-4C22-98A4-738A26DC574F}" dt="2026-02-20T14:22:17.049" v="5180"/>
          <ac:spMkLst>
            <pc:docMk/>
            <pc:sldMk cId="2134929351" sldId="316"/>
            <ac:spMk id="22" creationId="{7AA27B9A-BCD4-8178-5ABD-DFEB2F090481}"/>
          </ac:spMkLst>
        </pc:spChg>
        <pc:spChg chg="mod">
          <ac:chgData name="Shawn Lee (UK)" userId="03222456-4c0b-46ad-acb4-22367bd0c05e" providerId="ADAL" clId="{0DB3D54B-15AC-4C22-98A4-738A26DC574F}" dt="2026-02-20T14:22:17.049" v="5184"/>
          <ac:spMkLst>
            <pc:docMk/>
            <pc:sldMk cId="2134929351" sldId="316"/>
            <ac:spMk id="26" creationId="{339872CC-8F1B-3B49-CB3D-DB3DBA68228F}"/>
          </ac:spMkLst>
        </pc:spChg>
        <pc:spChg chg="mod">
          <ac:chgData name="Shawn Lee (UK)" userId="03222456-4c0b-46ad-acb4-22367bd0c05e" providerId="ADAL" clId="{0DB3D54B-15AC-4C22-98A4-738A26DC574F}" dt="2026-02-20T14:22:17.049" v="5188"/>
          <ac:spMkLst>
            <pc:docMk/>
            <pc:sldMk cId="2134929351" sldId="316"/>
            <ac:spMk id="30" creationId="{2D9F7C68-62C3-EC85-4D86-9B7FC2587239}"/>
          </ac:spMkLst>
        </pc:spChg>
        <pc:spChg chg="mod">
          <ac:chgData name="Shawn Lee (UK)" userId="03222456-4c0b-46ad-acb4-22367bd0c05e" providerId="ADAL" clId="{0DB3D54B-15AC-4C22-98A4-738A26DC574F}" dt="2026-02-20T14:22:17.066" v="5227"/>
          <ac:spMkLst>
            <pc:docMk/>
            <pc:sldMk cId="2134929351" sldId="316"/>
            <ac:spMk id="167" creationId="{887CBD83-0310-837D-A160-14C5C1D0F00F}"/>
          </ac:spMkLst>
        </pc:spChg>
        <pc:spChg chg="mod">
          <ac:chgData name="Shawn Lee (UK)" userId="03222456-4c0b-46ad-acb4-22367bd0c05e" providerId="ADAL" clId="{0DB3D54B-15AC-4C22-98A4-738A26DC574F}" dt="2026-02-20T14:22:17.066" v="5228"/>
          <ac:spMkLst>
            <pc:docMk/>
            <pc:sldMk cId="2134929351" sldId="316"/>
            <ac:spMk id="168" creationId="{14F10A41-F6A9-3B10-45EB-54ADB57BC051}"/>
          </ac:spMkLst>
        </pc:spChg>
        <pc:spChg chg="mod">
          <ac:chgData name="Shawn Lee (UK)" userId="03222456-4c0b-46ad-acb4-22367bd0c05e" providerId="ADAL" clId="{0DB3D54B-15AC-4C22-98A4-738A26DC574F}" dt="2026-02-20T14:22:17.066" v="5229"/>
          <ac:spMkLst>
            <pc:docMk/>
            <pc:sldMk cId="2134929351" sldId="316"/>
            <ac:spMk id="169" creationId="{A345A841-8FDB-E66F-EEBB-3123C0527748}"/>
          </ac:spMkLst>
        </pc:spChg>
        <pc:spChg chg="mod ord">
          <ac:chgData name="Shawn Lee (UK)" userId="03222456-4c0b-46ad-acb4-22367bd0c05e" providerId="ADAL" clId="{0DB3D54B-15AC-4C22-98A4-738A26DC574F}" dt="2026-02-20T14:22:17.066" v="5222"/>
          <ac:spMkLst>
            <pc:docMk/>
            <pc:sldMk cId="2134929351" sldId="316"/>
            <ac:spMk id="172" creationId="{4C67CE81-DD98-3FBB-6EAD-FE4FECBAA6AF}"/>
          </ac:spMkLst>
        </pc:spChg>
        <pc:spChg chg="mod ord">
          <ac:chgData name="Shawn Lee (UK)" userId="03222456-4c0b-46ad-acb4-22367bd0c05e" providerId="ADAL" clId="{0DB3D54B-15AC-4C22-98A4-738A26DC574F}" dt="2026-02-20T14:22:17.066" v="5224"/>
          <ac:spMkLst>
            <pc:docMk/>
            <pc:sldMk cId="2134929351" sldId="316"/>
            <ac:spMk id="173" creationId="{9206DB31-0B31-12F3-5CFC-C4A034F4AC21}"/>
          </ac:spMkLst>
        </pc:spChg>
        <pc:spChg chg="mod ord">
          <ac:chgData name="Shawn Lee (UK)" userId="03222456-4c0b-46ad-acb4-22367bd0c05e" providerId="ADAL" clId="{0DB3D54B-15AC-4C22-98A4-738A26DC574F}" dt="2026-02-20T14:22:17.066" v="5226"/>
          <ac:spMkLst>
            <pc:docMk/>
            <pc:sldMk cId="2134929351" sldId="316"/>
            <ac:spMk id="174" creationId="{5999BB11-626C-9041-ABCA-79DEBE241985}"/>
          </ac:spMkLst>
        </pc:spChg>
        <pc:spChg chg="mod">
          <ac:chgData name="Shawn Lee (UK)" userId="03222456-4c0b-46ad-acb4-22367bd0c05e" providerId="ADAL" clId="{0DB3D54B-15AC-4C22-98A4-738A26DC574F}" dt="2026-02-20T14:22:17.066" v="5206"/>
          <ac:spMkLst>
            <pc:docMk/>
            <pc:sldMk cId="2134929351" sldId="316"/>
            <ac:spMk id="213" creationId="{C973C702-6FCF-3363-A06C-8B507F287ACB}"/>
          </ac:spMkLst>
        </pc:spChg>
        <pc:spChg chg="mod">
          <ac:chgData name="Shawn Lee (UK)" userId="03222456-4c0b-46ad-acb4-22367bd0c05e" providerId="ADAL" clId="{0DB3D54B-15AC-4C22-98A4-738A26DC574F}" dt="2026-02-20T14:22:17.049" v="5159"/>
          <ac:spMkLst>
            <pc:docMk/>
            <pc:sldMk cId="2134929351" sldId="316"/>
            <ac:spMk id="249" creationId="{0E50C6FF-B735-E180-FA71-C6C3BDFA42F8}"/>
          </ac:spMkLst>
        </pc:spChg>
        <pc:spChg chg="mod">
          <ac:chgData name="Shawn Lee (UK)" userId="03222456-4c0b-46ad-acb4-22367bd0c05e" providerId="ADAL" clId="{0DB3D54B-15AC-4C22-98A4-738A26DC574F}" dt="2026-02-20T14:22:17.049" v="5160"/>
          <ac:spMkLst>
            <pc:docMk/>
            <pc:sldMk cId="2134929351" sldId="316"/>
            <ac:spMk id="250" creationId="{48D370DB-DF0A-E48E-A582-AC1C8716D762}"/>
          </ac:spMkLst>
        </pc:spChg>
        <pc:spChg chg="mod">
          <ac:chgData name="Shawn Lee (UK)" userId="03222456-4c0b-46ad-acb4-22367bd0c05e" providerId="ADAL" clId="{0DB3D54B-15AC-4C22-98A4-738A26DC574F}" dt="2026-02-20T14:22:17.049" v="5161"/>
          <ac:spMkLst>
            <pc:docMk/>
            <pc:sldMk cId="2134929351" sldId="316"/>
            <ac:spMk id="251" creationId="{07BF2F20-A46D-CC45-F7D4-B8C3D7DE6D87}"/>
          </ac:spMkLst>
        </pc:spChg>
        <pc:spChg chg="mod">
          <ac:chgData name="Shawn Lee (UK)" userId="03222456-4c0b-46ad-acb4-22367bd0c05e" providerId="ADAL" clId="{0DB3D54B-15AC-4C22-98A4-738A26DC574F}" dt="2026-02-20T14:22:17.049" v="5162"/>
          <ac:spMkLst>
            <pc:docMk/>
            <pc:sldMk cId="2134929351" sldId="316"/>
            <ac:spMk id="252" creationId="{8A0D56DA-78CE-C0CF-3522-DB07062A707F}"/>
          </ac:spMkLst>
        </pc:spChg>
        <pc:spChg chg="mod">
          <ac:chgData name="Shawn Lee (UK)" userId="03222456-4c0b-46ad-acb4-22367bd0c05e" providerId="ADAL" clId="{0DB3D54B-15AC-4C22-98A4-738A26DC574F}" dt="2026-02-20T14:22:17.049" v="5163"/>
          <ac:spMkLst>
            <pc:docMk/>
            <pc:sldMk cId="2134929351" sldId="316"/>
            <ac:spMk id="253" creationId="{00970573-9043-D5DF-D0F4-B99AA612ADD7}"/>
          </ac:spMkLst>
        </pc:spChg>
        <pc:spChg chg="mod">
          <ac:chgData name="Shawn Lee (UK)" userId="03222456-4c0b-46ad-acb4-22367bd0c05e" providerId="ADAL" clId="{0DB3D54B-15AC-4C22-98A4-738A26DC574F}" dt="2026-02-20T14:22:17.049" v="5164"/>
          <ac:spMkLst>
            <pc:docMk/>
            <pc:sldMk cId="2134929351" sldId="316"/>
            <ac:spMk id="254" creationId="{33E472AF-C141-35CE-B45C-A17612FACC1F}"/>
          </ac:spMkLst>
        </pc:spChg>
        <pc:spChg chg="mod">
          <ac:chgData name="Shawn Lee (UK)" userId="03222456-4c0b-46ad-acb4-22367bd0c05e" providerId="ADAL" clId="{0DB3D54B-15AC-4C22-98A4-738A26DC574F}" dt="2026-02-20T14:22:17.049" v="5165"/>
          <ac:spMkLst>
            <pc:docMk/>
            <pc:sldMk cId="2134929351" sldId="316"/>
            <ac:spMk id="255" creationId="{7CE30BC4-A941-BC19-73C7-F2F868A34552}"/>
          </ac:spMkLst>
        </pc:spChg>
        <pc:spChg chg="mod">
          <ac:chgData name="Shawn Lee (UK)" userId="03222456-4c0b-46ad-acb4-22367bd0c05e" providerId="ADAL" clId="{0DB3D54B-15AC-4C22-98A4-738A26DC574F}" dt="2026-02-20T14:22:17.049" v="5166"/>
          <ac:spMkLst>
            <pc:docMk/>
            <pc:sldMk cId="2134929351" sldId="316"/>
            <ac:spMk id="256" creationId="{D225EB3B-91D6-54AB-1261-77FF27AE849D}"/>
          </ac:spMkLst>
        </pc:spChg>
        <pc:spChg chg="mod">
          <ac:chgData name="Shawn Lee (UK)" userId="03222456-4c0b-46ad-acb4-22367bd0c05e" providerId="ADAL" clId="{0DB3D54B-15AC-4C22-98A4-738A26DC574F}" dt="2026-02-20T14:22:17.049" v="5167"/>
          <ac:spMkLst>
            <pc:docMk/>
            <pc:sldMk cId="2134929351" sldId="316"/>
            <ac:spMk id="257" creationId="{AD823431-9FCE-A90F-7F71-559E43218485}"/>
          </ac:spMkLst>
        </pc:spChg>
        <pc:spChg chg="mod">
          <ac:chgData name="Shawn Lee (UK)" userId="03222456-4c0b-46ad-acb4-22367bd0c05e" providerId="ADAL" clId="{0DB3D54B-15AC-4C22-98A4-738A26DC574F}" dt="2026-02-20T14:22:17.049" v="5168"/>
          <ac:spMkLst>
            <pc:docMk/>
            <pc:sldMk cId="2134929351" sldId="316"/>
            <ac:spMk id="258" creationId="{5945AE11-9379-6826-C66A-3BA2AB82EED8}"/>
          </ac:spMkLst>
        </pc:spChg>
        <pc:spChg chg="mod">
          <ac:chgData name="Shawn Lee (UK)" userId="03222456-4c0b-46ad-acb4-22367bd0c05e" providerId="ADAL" clId="{0DB3D54B-15AC-4C22-98A4-738A26DC574F}" dt="2026-02-20T14:22:17.049" v="5169"/>
          <ac:spMkLst>
            <pc:docMk/>
            <pc:sldMk cId="2134929351" sldId="316"/>
            <ac:spMk id="259" creationId="{022EF587-48CB-55A6-730B-3B72E612AEDD}"/>
          </ac:spMkLst>
        </pc:spChg>
        <pc:spChg chg="mod">
          <ac:chgData name="Shawn Lee (UK)" userId="03222456-4c0b-46ad-acb4-22367bd0c05e" providerId="ADAL" clId="{0DB3D54B-15AC-4C22-98A4-738A26DC574F}" dt="2026-02-20T14:22:17.049" v="5170"/>
          <ac:spMkLst>
            <pc:docMk/>
            <pc:sldMk cId="2134929351" sldId="316"/>
            <ac:spMk id="260" creationId="{0280B03B-2229-A511-4AEC-1044D44AED21}"/>
          </ac:spMkLst>
        </pc:spChg>
        <pc:spChg chg="mod">
          <ac:chgData name="Shawn Lee (UK)" userId="03222456-4c0b-46ad-acb4-22367bd0c05e" providerId="ADAL" clId="{0DB3D54B-15AC-4C22-98A4-738A26DC574F}" dt="2026-02-20T14:22:17.049" v="5171"/>
          <ac:spMkLst>
            <pc:docMk/>
            <pc:sldMk cId="2134929351" sldId="316"/>
            <ac:spMk id="261" creationId="{B50FBA92-1A33-6255-0E0D-91ED7093C9B5}"/>
          </ac:spMkLst>
        </pc:spChg>
        <pc:spChg chg="mod">
          <ac:chgData name="Shawn Lee (UK)" userId="03222456-4c0b-46ad-acb4-22367bd0c05e" providerId="ADAL" clId="{0DB3D54B-15AC-4C22-98A4-738A26DC574F}" dt="2026-02-20T14:22:17.049" v="5172"/>
          <ac:spMkLst>
            <pc:docMk/>
            <pc:sldMk cId="2134929351" sldId="316"/>
            <ac:spMk id="262" creationId="{5632090E-D186-193F-4176-2FFDB8ECE966}"/>
          </ac:spMkLst>
        </pc:spChg>
        <pc:spChg chg="mod">
          <ac:chgData name="Shawn Lee (UK)" userId="03222456-4c0b-46ad-acb4-22367bd0c05e" providerId="ADAL" clId="{0DB3D54B-15AC-4C22-98A4-738A26DC574F}" dt="2026-02-20T14:22:17.049" v="5173"/>
          <ac:spMkLst>
            <pc:docMk/>
            <pc:sldMk cId="2134929351" sldId="316"/>
            <ac:spMk id="263" creationId="{EB043875-874E-BC94-F438-F39A2F24773B}"/>
          </ac:spMkLst>
        </pc:spChg>
        <pc:spChg chg="mod">
          <ac:chgData name="Shawn Lee (UK)" userId="03222456-4c0b-46ad-acb4-22367bd0c05e" providerId="ADAL" clId="{0DB3D54B-15AC-4C22-98A4-738A26DC574F}" dt="2026-02-20T14:22:17.049" v="5174"/>
          <ac:spMkLst>
            <pc:docMk/>
            <pc:sldMk cId="2134929351" sldId="316"/>
            <ac:spMk id="264" creationId="{22FEE062-7044-E6BC-632E-F263E1C89AA6}"/>
          </ac:spMkLst>
        </pc:spChg>
        <pc:spChg chg="mod">
          <ac:chgData name="Shawn Lee (UK)" userId="03222456-4c0b-46ad-acb4-22367bd0c05e" providerId="ADAL" clId="{0DB3D54B-15AC-4C22-98A4-738A26DC574F}" dt="2026-02-20T14:22:17.049" v="5175"/>
          <ac:spMkLst>
            <pc:docMk/>
            <pc:sldMk cId="2134929351" sldId="316"/>
            <ac:spMk id="265" creationId="{E50D0567-D3C3-2EFE-B625-F6837329EF27}"/>
          </ac:spMkLst>
        </pc:spChg>
        <pc:spChg chg="mod">
          <ac:chgData name="Shawn Lee (UK)" userId="03222456-4c0b-46ad-acb4-22367bd0c05e" providerId="ADAL" clId="{0DB3D54B-15AC-4C22-98A4-738A26DC574F}" dt="2026-02-20T14:22:17.049" v="5177"/>
          <ac:spMkLst>
            <pc:docMk/>
            <pc:sldMk cId="2134929351" sldId="316"/>
            <ac:spMk id="271" creationId="{6D98E308-895D-0B62-7C46-DE548980966E}"/>
          </ac:spMkLst>
        </pc:spChg>
        <pc:spChg chg="mod">
          <ac:chgData name="Shawn Lee (UK)" userId="03222456-4c0b-46ad-acb4-22367bd0c05e" providerId="ADAL" clId="{0DB3D54B-15AC-4C22-98A4-738A26DC574F}" dt="2026-02-20T14:22:17.049" v="5178"/>
          <ac:spMkLst>
            <pc:docMk/>
            <pc:sldMk cId="2134929351" sldId="316"/>
            <ac:spMk id="272" creationId="{9BDAEC59-32AD-F874-24DA-5DEB66EDA6F2}"/>
          </ac:spMkLst>
        </pc:spChg>
        <pc:spChg chg="mod">
          <ac:chgData name="Shawn Lee (UK)" userId="03222456-4c0b-46ad-acb4-22367bd0c05e" providerId="ADAL" clId="{0DB3D54B-15AC-4C22-98A4-738A26DC574F}" dt="2026-02-20T14:22:17.049" v="5179"/>
          <ac:spMkLst>
            <pc:docMk/>
            <pc:sldMk cId="2134929351" sldId="316"/>
            <ac:spMk id="273" creationId="{F8DA3CB2-E586-4CEF-A9F8-D589B127B5D5}"/>
          </ac:spMkLst>
        </pc:spChg>
        <pc:spChg chg="mod">
          <ac:chgData name="Shawn Lee (UK)" userId="03222456-4c0b-46ad-acb4-22367bd0c05e" providerId="ADAL" clId="{0DB3D54B-15AC-4C22-98A4-738A26DC574F}" dt="2026-02-20T14:22:17.049" v="5181"/>
          <ac:spMkLst>
            <pc:docMk/>
            <pc:sldMk cId="2134929351" sldId="316"/>
            <ac:spMk id="274" creationId="{37CCB273-7A14-756B-5892-AEF06F4ADCF5}"/>
          </ac:spMkLst>
        </pc:spChg>
        <pc:spChg chg="mod">
          <ac:chgData name="Shawn Lee (UK)" userId="03222456-4c0b-46ad-acb4-22367bd0c05e" providerId="ADAL" clId="{0DB3D54B-15AC-4C22-98A4-738A26DC574F}" dt="2026-02-20T14:22:17.049" v="5182"/>
          <ac:spMkLst>
            <pc:docMk/>
            <pc:sldMk cId="2134929351" sldId="316"/>
            <ac:spMk id="275" creationId="{151C403D-3890-B5F5-A42A-C4203465B058}"/>
          </ac:spMkLst>
        </pc:spChg>
        <pc:spChg chg="mod">
          <ac:chgData name="Shawn Lee (UK)" userId="03222456-4c0b-46ad-acb4-22367bd0c05e" providerId="ADAL" clId="{0DB3D54B-15AC-4C22-98A4-738A26DC574F}" dt="2026-02-20T14:22:17.049" v="5183"/>
          <ac:spMkLst>
            <pc:docMk/>
            <pc:sldMk cId="2134929351" sldId="316"/>
            <ac:spMk id="276" creationId="{95229ADA-FC32-32ED-7779-63190FBD39C3}"/>
          </ac:spMkLst>
        </pc:spChg>
        <pc:spChg chg="mod">
          <ac:chgData name="Shawn Lee (UK)" userId="03222456-4c0b-46ad-acb4-22367bd0c05e" providerId="ADAL" clId="{0DB3D54B-15AC-4C22-98A4-738A26DC574F}" dt="2026-02-20T14:22:17.049" v="5185"/>
          <ac:spMkLst>
            <pc:docMk/>
            <pc:sldMk cId="2134929351" sldId="316"/>
            <ac:spMk id="277" creationId="{01A8C516-0E54-0090-6BF0-9A6140B91637}"/>
          </ac:spMkLst>
        </pc:spChg>
        <pc:spChg chg="mod">
          <ac:chgData name="Shawn Lee (UK)" userId="03222456-4c0b-46ad-acb4-22367bd0c05e" providerId="ADAL" clId="{0DB3D54B-15AC-4C22-98A4-738A26DC574F}" dt="2026-02-20T14:22:17.049" v="5186"/>
          <ac:spMkLst>
            <pc:docMk/>
            <pc:sldMk cId="2134929351" sldId="316"/>
            <ac:spMk id="278" creationId="{0126B1AA-E307-C141-BFD2-19AC4FA4F4B7}"/>
          </ac:spMkLst>
        </pc:spChg>
        <pc:spChg chg="mod">
          <ac:chgData name="Shawn Lee (UK)" userId="03222456-4c0b-46ad-acb4-22367bd0c05e" providerId="ADAL" clId="{0DB3D54B-15AC-4C22-98A4-738A26DC574F}" dt="2026-02-20T14:22:17.049" v="5187"/>
          <ac:spMkLst>
            <pc:docMk/>
            <pc:sldMk cId="2134929351" sldId="316"/>
            <ac:spMk id="279" creationId="{9FD1B112-11AD-D5B3-8D09-2F3E19B76AC6}"/>
          </ac:spMkLst>
        </pc:spChg>
        <pc:spChg chg="mod">
          <ac:chgData name="Shawn Lee (UK)" userId="03222456-4c0b-46ad-acb4-22367bd0c05e" providerId="ADAL" clId="{0DB3D54B-15AC-4C22-98A4-738A26DC574F}" dt="2026-02-20T14:22:17.049" v="5189"/>
          <ac:spMkLst>
            <pc:docMk/>
            <pc:sldMk cId="2134929351" sldId="316"/>
            <ac:spMk id="280" creationId="{F0BB14BA-0591-37DD-3898-66337F69DB41}"/>
          </ac:spMkLst>
        </pc:spChg>
        <pc:spChg chg="mod">
          <ac:chgData name="Shawn Lee (UK)" userId="03222456-4c0b-46ad-acb4-22367bd0c05e" providerId="ADAL" clId="{0DB3D54B-15AC-4C22-98A4-738A26DC574F}" dt="2026-02-20T14:22:17.049" v="5190"/>
          <ac:spMkLst>
            <pc:docMk/>
            <pc:sldMk cId="2134929351" sldId="316"/>
            <ac:spMk id="281" creationId="{55D0E9BC-DD6C-2A8D-C0AC-C3FCB2B8D007}"/>
          </ac:spMkLst>
        </pc:spChg>
        <pc:spChg chg="mod">
          <ac:chgData name="Shawn Lee (UK)" userId="03222456-4c0b-46ad-acb4-22367bd0c05e" providerId="ADAL" clId="{0DB3D54B-15AC-4C22-98A4-738A26DC574F}" dt="2026-02-20T14:22:17.049" v="5191"/>
          <ac:spMkLst>
            <pc:docMk/>
            <pc:sldMk cId="2134929351" sldId="316"/>
            <ac:spMk id="282" creationId="{D98C3B51-A20B-D3FD-654B-6130E54D50C6}"/>
          </ac:spMkLst>
        </pc:spChg>
        <pc:spChg chg="mod">
          <ac:chgData name="Shawn Lee (UK)" userId="03222456-4c0b-46ad-acb4-22367bd0c05e" providerId="ADAL" clId="{0DB3D54B-15AC-4C22-98A4-738A26DC574F}" dt="2026-02-20T14:22:17.049" v="5193"/>
          <ac:spMkLst>
            <pc:docMk/>
            <pc:sldMk cId="2134929351" sldId="316"/>
            <ac:spMk id="283" creationId="{05FF624C-5CAC-BDDD-9727-ADCE304B1CF1}"/>
          </ac:spMkLst>
        </pc:spChg>
        <pc:spChg chg="mod">
          <ac:chgData name="Shawn Lee (UK)" userId="03222456-4c0b-46ad-acb4-22367bd0c05e" providerId="ADAL" clId="{0DB3D54B-15AC-4C22-98A4-738A26DC574F}" dt="2026-02-20T14:22:17.049" v="5194"/>
          <ac:spMkLst>
            <pc:docMk/>
            <pc:sldMk cId="2134929351" sldId="316"/>
            <ac:spMk id="284" creationId="{8F38FC7B-FE7A-E1B3-ADE9-DDDB318DD071}"/>
          </ac:spMkLst>
        </pc:spChg>
        <pc:spChg chg="mod">
          <ac:chgData name="Shawn Lee (UK)" userId="03222456-4c0b-46ad-acb4-22367bd0c05e" providerId="ADAL" clId="{0DB3D54B-15AC-4C22-98A4-738A26DC574F}" dt="2026-02-20T14:22:17.049" v="5195"/>
          <ac:spMkLst>
            <pc:docMk/>
            <pc:sldMk cId="2134929351" sldId="316"/>
            <ac:spMk id="285" creationId="{A7F64F0A-7CBD-D2C7-D908-6AAC3D313415}"/>
          </ac:spMkLst>
        </pc:spChg>
        <pc:spChg chg="mod">
          <ac:chgData name="Shawn Lee (UK)" userId="03222456-4c0b-46ad-acb4-22367bd0c05e" providerId="ADAL" clId="{0DB3D54B-15AC-4C22-98A4-738A26DC574F}" dt="2026-02-20T14:22:17.049" v="5197"/>
          <ac:spMkLst>
            <pc:docMk/>
            <pc:sldMk cId="2134929351" sldId="316"/>
            <ac:spMk id="286" creationId="{15E98657-520E-BE28-7A30-EAF49C5A9014}"/>
          </ac:spMkLst>
        </pc:spChg>
        <pc:spChg chg="mod">
          <ac:chgData name="Shawn Lee (UK)" userId="03222456-4c0b-46ad-acb4-22367bd0c05e" providerId="ADAL" clId="{0DB3D54B-15AC-4C22-98A4-738A26DC574F}" dt="2026-02-20T14:22:17.049" v="5198"/>
          <ac:spMkLst>
            <pc:docMk/>
            <pc:sldMk cId="2134929351" sldId="316"/>
            <ac:spMk id="287" creationId="{C988214F-7906-C788-0E50-DCDF9993A6AE}"/>
          </ac:spMkLst>
        </pc:spChg>
        <pc:spChg chg="mod">
          <ac:chgData name="Shawn Lee (UK)" userId="03222456-4c0b-46ad-acb4-22367bd0c05e" providerId="ADAL" clId="{0DB3D54B-15AC-4C22-98A4-738A26DC574F}" dt="2026-02-20T14:22:17.049" v="5199"/>
          <ac:spMkLst>
            <pc:docMk/>
            <pc:sldMk cId="2134929351" sldId="316"/>
            <ac:spMk id="288" creationId="{75C7CEC7-DCF7-4BF6-5F67-66E3551E80D5}"/>
          </ac:spMkLst>
        </pc:spChg>
        <pc:spChg chg="mod">
          <ac:chgData name="Shawn Lee (UK)" userId="03222456-4c0b-46ad-acb4-22367bd0c05e" providerId="ADAL" clId="{0DB3D54B-15AC-4C22-98A4-738A26DC574F}" dt="2026-02-20T14:22:17.066" v="5201"/>
          <ac:spMkLst>
            <pc:docMk/>
            <pc:sldMk cId="2134929351" sldId="316"/>
            <ac:spMk id="289" creationId="{92C9617C-F70C-F8DE-6338-33B3AB0771E4}"/>
          </ac:spMkLst>
        </pc:spChg>
        <pc:spChg chg="mod">
          <ac:chgData name="Shawn Lee (UK)" userId="03222456-4c0b-46ad-acb4-22367bd0c05e" providerId="ADAL" clId="{0DB3D54B-15AC-4C22-98A4-738A26DC574F}" dt="2026-02-20T14:22:17.066" v="5202"/>
          <ac:spMkLst>
            <pc:docMk/>
            <pc:sldMk cId="2134929351" sldId="316"/>
            <ac:spMk id="290" creationId="{21FE344A-AEEE-A1DF-195E-C7679D8D0E95}"/>
          </ac:spMkLst>
        </pc:spChg>
        <pc:spChg chg="mod">
          <ac:chgData name="Shawn Lee (UK)" userId="03222456-4c0b-46ad-acb4-22367bd0c05e" providerId="ADAL" clId="{0DB3D54B-15AC-4C22-98A4-738A26DC574F}" dt="2026-02-20T14:22:17.066" v="5203"/>
          <ac:spMkLst>
            <pc:docMk/>
            <pc:sldMk cId="2134929351" sldId="316"/>
            <ac:spMk id="291" creationId="{8541EE09-AB65-3229-E922-A20452000B6E}"/>
          </ac:spMkLst>
        </pc:spChg>
        <pc:spChg chg="mod">
          <ac:chgData name="Shawn Lee (UK)" userId="03222456-4c0b-46ad-acb4-22367bd0c05e" providerId="ADAL" clId="{0DB3D54B-15AC-4C22-98A4-738A26DC574F}" dt="2026-02-20T14:22:17.066" v="5205"/>
          <ac:spMkLst>
            <pc:docMk/>
            <pc:sldMk cId="2134929351" sldId="316"/>
            <ac:spMk id="292" creationId="{6E7175F3-FC50-23CF-E353-579ADE8057D6}"/>
          </ac:spMkLst>
        </pc:spChg>
        <pc:spChg chg="mod">
          <ac:chgData name="Shawn Lee (UK)" userId="03222456-4c0b-46ad-acb4-22367bd0c05e" providerId="ADAL" clId="{0DB3D54B-15AC-4C22-98A4-738A26DC574F}" dt="2026-02-20T14:22:17.066" v="5213"/>
          <ac:spMkLst>
            <pc:docMk/>
            <pc:sldMk cId="2134929351" sldId="316"/>
            <ac:spMk id="293" creationId="{F7F3CC04-C69A-9B1E-930C-828B4779ECE1}"/>
          </ac:spMkLst>
        </pc:spChg>
        <pc:spChg chg="mod">
          <ac:chgData name="Shawn Lee (UK)" userId="03222456-4c0b-46ad-acb4-22367bd0c05e" providerId="ADAL" clId="{0DB3D54B-15AC-4C22-98A4-738A26DC574F}" dt="2026-02-20T14:22:17.066" v="5207"/>
          <ac:spMkLst>
            <pc:docMk/>
            <pc:sldMk cId="2134929351" sldId="316"/>
            <ac:spMk id="294" creationId="{C8550961-A452-EBDC-364E-43FFF6883F3F}"/>
          </ac:spMkLst>
        </pc:spChg>
        <pc:spChg chg="mod">
          <ac:chgData name="Shawn Lee (UK)" userId="03222456-4c0b-46ad-acb4-22367bd0c05e" providerId="ADAL" clId="{0DB3D54B-15AC-4C22-98A4-738A26DC574F}" dt="2026-02-20T14:22:17.066" v="5209"/>
          <ac:spMkLst>
            <pc:docMk/>
            <pc:sldMk cId="2134929351" sldId="316"/>
            <ac:spMk id="295" creationId="{9B4EAF86-E20D-AF08-962F-CCD5BDDEBBB3}"/>
          </ac:spMkLst>
        </pc:spChg>
        <pc:spChg chg="mod">
          <ac:chgData name="Shawn Lee (UK)" userId="03222456-4c0b-46ad-acb4-22367bd0c05e" providerId="ADAL" clId="{0DB3D54B-15AC-4C22-98A4-738A26DC574F}" dt="2026-02-20T14:22:17.066" v="5210"/>
          <ac:spMkLst>
            <pc:docMk/>
            <pc:sldMk cId="2134929351" sldId="316"/>
            <ac:spMk id="296" creationId="{F86FC8B1-DFD6-4465-F35B-7E521611A356}"/>
          </ac:spMkLst>
        </pc:spChg>
        <pc:spChg chg="mod">
          <ac:chgData name="Shawn Lee (UK)" userId="03222456-4c0b-46ad-acb4-22367bd0c05e" providerId="ADAL" clId="{0DB3D54B-15AC-4C22-98A4-738A26DC574F}" dt="2026-02-20T14:22:17.066" v="5211"/>
          <ac:spMkLst>
            <pc:docMk/>
            <pc:sldMk cId="2134929351" sldId="316"/>
            <ac:spMk id="297" creationId="{F119BDD2-D2D0-576C-8CA3-EEA10AB9D7A2}"/>
          </ac:spMkLst>
        </pc:spChg>
        <pc:spChg chg="mod">
          <ac:chgData name="Shawn Lee (UK)" userId="03222456-4c0b-46ad-acb4-22367bd0c05e" providerId="ADAL" clId="{0DB3D54B-15AC-4C22-98A4-738A26DC574F}" dt="2026-02-20T14:22:17.066" v="5220"/>
          <ac:spMkLst>
            <pc:docMk/>
            <pc:sldMk cId="2134929351" sldId="316"/>
            <ac:spMk id="298" creationId="{C2C9F0FE-F054-DC4D-4811-94DAB627BE0F}"/>
          </ac:spMkLst>
        </pc:spChg>
        <pc:spChg chg="mod">
          <ac:chgData name="Shawn Lee (UK)" userId="03222456-4c0b-46ad-acb4-22367bd0c05e" providerId="ADAL" clId="{0DB3D54B-15AC-4C22-98A4-738A26DC574F}" dt="2026-02-20T14:22:17.066" v="5214"/>
          <ac:spMkLst>
            <pc:docMk/>
            <pc:sldMk cId="2134929351" sldId="316"/>
            <ac:spMk id="299" creationId="{50694437-927B-0636-6DDA-A105AFA3ED83}"/>
          </ac:spMkLst>
        </pc:spChg>
        <pc:spChg chg="mod">
          <ac:chgData name="Shawn Lee (UK)" userId="03222456-4c0b-46ad-acb4-22367bd0c05e" providerId="ADAL" clId="{0DB3D54B-15AC-4C22-98A4-738A26DC574F}" dt="2026-02-20T14:22:17.066" v="5215"/>
          <ac:spMkLst>
            <pc:docMk/>
            <pc:sldMk cId="2134929351" sldId="316"/>
            <ac:spMk id="300" creationId="{79FCF52F-58AB-7E25-A37A-18F8CA8B4BAB}"/>
          </ac:spMkLst>
        </pc:spChg>
        <pc:spChg chg="mod">
          <ac:chgData name="Shawn Lee (UK)" userId="03222456-4c0b-46ad-acb4-22367bd0c05e" providerId="ADAL" clId="{0DB3D54B-15AC-4C22-98A4-738A26DC574F}" dt="2026-02-20T14:22:17.066" v="5217"/>
          <ac:spMkLst>
            <pc:docMk/>
            <pc:sldMk cId="2134929351" sldId="316"/>
            <ac:spMk id="301" creationId="{A00021FA-BA3F-B125-3430-EDE1666BCCB2}"/>
          </ac:spMkLst>
        </pc:spChg>
        <pc:spChg chg="mod">
          <ac:chgData name="Shawn Lee (UK)" userId="03222456-4c0b-46ad-acb4-22367bd0c05e" providerId="ADAL" clId="{0DB3D54B-15AC-4C22-98A4-738A26DC574F}" dt="2026-02-20T14:22:17.066" v="5218"/>
          <ac:spMkLst>
            <pc:docMk/>
            <pc:sldMk cId="2134929351" sldId="316"/>
            <ac:spMk id="302" creationId="{29ECAD53-1044-DB24-3CF9-7078BBECA2ED}"/>
          </ac:spMkLst>
        </pc:spChg>
        <pc:spChg chg="mod ord">
          <ac:chgData name="Shawn Lee (UK)" userId="03222456-4c0b-46ad-acb4-22367bd0c05e" providerId="ADAL" clId="{0DB3D54B-15AC-4C22-98A4-738A26DC574F}" dt="2026-02-20T14:22:17.066" v="5231"/>
          <ac:spMkLst>
            <pc:docMk/>
            <pc:sldMk cId="2134929351" sldId="316"/>
            <ac:spMk id="307" creationId="{C6EC1307-8281-442D-339D-2C8185DB04A8}"/>
          </ac:spMkLst>
        </pc:spChg>
        <pc:spChg chg="mod ord">
          <ac:chgData name="Shawn Lee (UK)" userId="03222456-4c0b-46ad-acb4-22367bd0c05e" providerId="ADAL" clId="{0DB3D54B-15AC-4C22-98A4-738A26DC574F}" dt="2026-02-20T14:22:17.077" v="5233"/>
          <ac:spMkLst>
            <pc:docMk/>
            <pc:sldMk cId="2134929351" sldId="316"/>
            <ac:spMk id="308" creationId="{1B98245D-C9FF-495D-7374-5684FE75282B}"/>
          </ac:spMkLst>
        </pc:spChg>
        <pc:spChg chg="mod ord">
          <ac:chgData name="Shawn Lee (UK)" userId="03222456-4c0b-46ad-acb4-22367bd0c05e" providerId="ADAL" clId="{0DB3D54B-15AC-4C22-98A4-738A26DC574F}" dt="2026-02-20T14:22:17.077" v="5235"/>
          <ac:spMkLst>
            <pc:docMk/>
            <pc:sldMk cId="2134929351" sldId="316"/>
            <ac:spMk id="309" creationId="{466F9F59-1C32-31CF-AA77-B72AC8989BC3}"/>
          </ac:spMkLst>
        </pc:spChg>
        <pc:spChg chg="mod ord">
          <ac:chgData name="Shawn Lee (UK)" userId="03222456-4c0b-46ad-acb4-22367bd0c05e" providerId="ADAL" clId="{0DB3D54B-15AC-4C22-98A4-738A26DC574F}" dt="2026-02-20T14:22:17.077" v="5237"/>
          <ac:spMkLst>
            <pc:docMk/>
            <pc:sldMk cId="2134929351" sldId="316"/>
            <ac:spMk id="310" creationId="{6B168786-6129-2EFC-4193-3289BEB7427F}"/>
          </ac:spMkLst>
        </pc:spChg>
        <pc:spChg chg="mod ord">
          <ac:chgData name="Shawn Lee (UK)" userId="03222456-4c0b-46ad-acb4-22367bd0c05e" providerId="ADAL" clId="{0DB3D54B-15AC-4C22-98A4-738A26DC574F}" dt="2026-02-20T14:22:17.077" v="5239"/>
          <ac:spMkLst>
            <pc:docMk/>
            <pc:sldMk cId="2134929351" sldId="316"/>
            <ac:spMk id="311" creationId="{A4C1C938-BE7E-899A-0ACC-33109988278C}"/>
          </ac:spMkLst>
        </pc:spChg>
        <pc:spChg chg="mod ord">
          <ac:chgData name="Shawn Lee (UK)" userId="03222456-4c0b-46ad-acb4-22367bd0c05e" providerId="ADAL" clId="{0DB3D54B-15AC-4C22-98A4-738A26DC574F}" dt="2026-02-20T14:22:17.077" v="5241"/>
          <ac:spMkLst>
            <pc:docMk/>
            <pc:sldMk cId="2134929351" sldId="316"/>
            <ac:spMk id="312" creationId="{66B0FDF6-6E07-A968-B3EF-EA46323C74F1}"/>
          </ac:spMkLst>
        </pc:spChg>
        <pc:spChg chg="mod ord">
          <ac:chgData name="Shawn Lee (UK)" userId="03222456-4c0b-46ad-acb4-22367bd0c05e" providerId="ADAL" clId="{0DB3D54B-15AC-4C22-98A4-738A26DC574F}" dt="2026-02-20T14:22:17.077" v="5243"/>
          <ac:spMkLst>
            <pc:docMk/>
            <pc:sldMk cId="2134929351" sldId="316"/>
            <ac:spMk id="313" creationId="{4B02B37F-F2DC-2000-28CD-5CD241566695}"/>
          </ac:spMkLst>
        </pc:spChg>
        <pc:spChg chg="mod ord">
          <ac:chgData name="Shawn Lee (UK)" userId="03222456-4c0b-46ad-acb4-22367bd0c05e" providerId="ADAL" clId="{0DB3D54B-15AC-4C22-98A4-738A26DC574F}" dt="2026-02-20T14:22:17.077" v="5245"/>
          <ac:spMkLst>
            <pc:docMk/>
            <pc:sldMk cId="2134929351" sldId="316"/>
            <ac:spMk id="314" creationId="{6BE007FC-D58E-3496-6358-D0258621B971}"/>
          </ac:spMkLst>
        </pc:spChg>
        <pc:spChg chg="mod ord">
          <ac:chgData name="Shawn Lee (UK)" userId="03222456-4c0b-46ad-acb4-22367bd0c05e" providerId="ADAL" clId="{0DB3D54B-15AC-4C22-98A4-738A26DC574F}" dt="2026-02-20T14:22:17.077" v="5247"/>
          <ac:spMkLst>
            <pc:docMk/>
            <pc:sldMk cId="2134929351" sldId="316"/>
            <ac:spMk id="315" creationId="{97AE0CF3-04BB-51D9-0AA5-B517D57BDFBC}"/>
          </ac:spMkLst>
        </pc:spChg>
        <pc:spChg chg="mod ord">
          <ac:chgData name="Shawn Lee (UK)" userId="03222456-4c0b-46ad-acb4-22367bd0c05e" providerId="ADAL" clId="{0DB3D54B-15AC-4C22-98A4-738A26DC574F}" dt="2026-02-20T14:22:17.077" v="5249"/>
          <ac:spMkLst>
            <pc:docMk/>
            <pc:sldMk cId="2134929351" sldId="316"/>
            <ac:spMk id="316" creationId="{E9B4A480-90B0-74AB-86D3-86255A76FE01}"/>
          </ac:spMkLst>
        </pc:spChg>
        <pc:spChg chg="mod ord">
          <ac:chgData name="Shawn Lee (UK)" userId="03222456-4c0b-46ad-acb4-22367bd0c05e" providerId="ADAL" clId="{0DB3D54B-15AC-4C22-98A4-738A26DC574F}" dt="2026-02-20T14:22:17.081" v="5251"/>
          <ac:spMkLst>
            <pc:docMk/>
            <pc:sldMk cId="2134929351" sldId="316"/>
            <ac:spMk id="317" creationId="{A8C9D385-E07D-790E-0F4C-5700F7107BF5}"/>
          </ac:spMkLst>
        </pc:spChg>
        <pc:graphicFrameChg chg="mod">
          <ac:chgData name="Shawn Lee (UK)" userId="03222456-4c0b-46ad-acb4-22367bd0c05e" providerId="ADAL" clId="{0DB3D54B-15AC-4C22-98A4-738A26DC574F}" dt="2026-02-20T14:22:17.087" v="5275"/>
          <ac:graphicFrameMkLst>
            <pc:docMk/>
            <pc:sldMk cId="2134929351" sldId="316"/>
            <ac:graphicFrameMk id="4" creationId="{D9766972-89D0-7927-D38B-5A7010B58629}"/>
          </ac:graphicFrameMkLst>
        </pc:graphicFrameChg>
        <pc:graphicFrameChg chg="add del mod ord">
          <ac:chgData name="Shawn Lee (UK)" userId="03222456-4c0b-46ad-acb4-22367bd0c05e" providerId="ADAL" clId="{0DB3D54B-15AC-4C22-98A4-738A26DC574F}" dt="2026-02-20T14:22:17.026" v="5134"/>
          <ac:graphicFrameMkLst>
            <pc:docMk/>
            <pc:sldMk cId="2134929351" sldId="316"/>
            <ac:graphicFrameMk id="9" creationId="{B91F6814-70D7-CA55-19CB-C896EA6F8CB8}"/>
          </ac:graphicFrameMkLst>
        </pc:graphicFrameChg>
        <pc:graphicFrameChg chg="add mod ord">
          <ac:chgData name="Shawn Lee (UK)" userId="03222456-4c0b-46ad-acb4-22367bd0c05e" providerId="ADAL" clId="{0DB3D54B-15AC-4C22-98A4-738A26DC574F}" dt="2026-02-20T14:22:17.049" v="5158"/>
          <ac:graphicFrameMkLst>
            <pc:docMk/>
            <pc:sldMk cId="2134929351" sldId="316"/>
            <ac:graphicFrameMk id="11" creationId="{927245E9-A961-EED6-7608-CDCA12BF979C}"/>
          </ac:graphicFrameMkLst>
        </pc:graphicFrameChg>
        <pc:graphicFrameChg chg="del">
          <ac:chgData name="Shawn Lee (UK)" userId="03222456-4c0b-46ad-acb4-22367bd0c05e" providerId="ADAL" clId="{0DB3D54B-15AC-4C22-98A4-738A26DC574F}" dt="2026-02-20T14:22:12.920" v="4936"/>
          <ac:graphicFrameMkLst>
            <pc:docMk/>
            <pc:sldMk cId="2134929351" sldId="316"/>
            <ac:graphicFrameMk id="335" creationId="{239EFBB2-A515-A8D4-C93B-B2A64680BA79}"/>
          </ac:graphicFrameMkLst>
        </pc:graphicFrameChg>
        <pc:picChg chg="mod ord">
          <ac:chgData name="Shawn Lee (UK)" userId="03222456-4c0b-46ad-acb4-22367bd0c05e" providerId="ADAL" clId="{0DB3D54B-15AC-4C22-98A4-738A26DC574F}" dt="2026-02-20T14:22:17.049" v="5156"/>
          <ac:picMkLst>
            <pc:docMk/>
            <pc:sldMk cId="2134929351" sldId="316"/>
            <ac:picMk id="2" creationId="{87F426B1-0463-B284-3D65-ACB819ACF23D}"/>
          </ac:picMkLst>
        </pc:picChg>
        <pc:cxnChg chg="mod ord">
          <ac:chgData name="Shawn Lee (UK)" userId="03222456-4c0b-46ad-acb4-22367bd0c05e" providerId="ADAL" clId="{0DB3D54B-15AC-4C22-98A4-738A26DC574F}" dt="2026-02-20T14:22:17.082" v="5253"/>
          <ac:cxnSpMkLst>
            <pc:docMk/>
            <pc:sldMk cId="2134929351" sldId="316"/>
            <ac:cxnSpMk id="319" creationId="{1CAAB0F7-EAAC-E377-A859-E282DA4214AD}"/>
          </ac:cxnSpMkLst>
        </pc:cxnChg>
        <pc:cxnChg chg="mod ord">
          <ac:chgData name="Shawn Lee (UK)" userId="03222456-4c0b-46ad-acb4-22367bd0c05e" providerId="ADAL" clId="{0DB3D54B-15AC-4C22-98A4-738A26DC574F}" dt="2026-02-20T14:22:17.082" v="5255"/>
          <ac:cxnSpMkLst>
            <pc:docMk/>
            <pc:sldMk cId="2134929351" sldId="316"/>
            <ac:cxnSpMk id="320" creationId="{4E15057A-B5FF-DC41-4835-8CC2B29574F4}"/>
          </ac:cxnSpMkLst>
        </pc:cxnChg>
        <pc:cxnChg chg="mod ord">
          <ac:chgData name="Shawn Lee (UK)" userId="03222456-4c0b-46ad-acb4-22367bd0c05e" providerId="ADAL" clId="{0DB3D54B-15AC-4C22-98A4-738A26DC574F}" dt="2026-02-20T14:22:17.083" v="5257"/>
          <ac:cxnSpMkLst>
            <pc:docMk/>
            <pc:sldMk cId="2134929351" sldId="316"/>
            <ac:cxnSpMk id="321" creationId="{9704F675-BE70-9800-642A-678E7A8785C0}"/>
          </ac:cxnSpMkLst>
        </pc:cxnChg>
        <pc:cxnChg chg="mod ord">
          <ac:chgData name="Shawn Lee (UK)" userId="03222456-4c0b-46ad-acb4-22367bd0c05e" providerId="ADAL" clId="{0DB3D54B-15AC-4C22-98A4-738A26DC574F}" dt="2026-02-20T14:22:17.083" v="5259"/>
          <ac:cxnSpMkLst>
            <pc:docMk/>
            <pc:sldMk cId="2134929351" sldId="316"/>
            <ac:cxnSpMk id="323" creationId="{78E94B73-AE8E-71B3-B194-50E16C910690}"/>
          </ac:cxnSpMkLst>
        </pc:cxnChg>
        <pc:cxnChg chg="mod ord">
          <ac:chgData name="Shawn Lee (UK)" userId="03222456-4c0b-46ad-acb4-22367bd0c05e" providerId="ADAL" clId="{0DB3D54B-15AC-4C22-98A4-738A26DC574F}" dt="2026-02-20T14:22:17.084" v="5261"/>
          <ac:cxnSpMkLst>
            <pc:docMk/>
            <pc:sldMk cId="2134929351" sldId="316"/>
            <ac:cxnSpMk id="324" creationId="{27FF1588-BCAB-3F0A-93B2-D330AD828DE3}"/>
          </ac:cxnSpMkLst>
        </pc:cxnChg>
        <pc:cxnChg chg="mod ord">
          <ac:chgData name="Shawn Lee (UK)" userId="03222456-4c0b-46ad-acb4-22367bd0c05e" providerId="ADAL" clId="{0DB3D54B-15AC-4C22-98A4-738A26DC574F}" dt="2026-02-20T14:22:17.085" v="5263"/>
          <ac:cxnSpMkLst>
            <pc:docMk/>
            <pc:sldMk cId="2134929351" sldId="316"/>
            <ac:cxnSpMk id="325" creationId="{FE38314F-C60D-A233-8AB8-3DDEBDAF073B}"/>
          </ac:cxnSpMkLst>
        </pc:cxnChg>
        <pc:cxnChg chg="mod ord">
          <ac:chgData name="Shawn Lee (UK)" userId="03222456-4c0b-46ad-acb4-22367bd0c05e" providerId="ADAL" clId="{0DB3D54B-15AC-4C22-98A4-738A26DC574F}" dt="2026-02-20T14:22:17.085" v="5265"/>
          <ac:cxnSpMkLst>
            <pc:docMk/>
            <pc:sldMk cId="2134929351" sldId="316"/>
            <ac:cxnSpMk id="326" creationId="{0BADA0E5-FCAC-C289-3935-D0DAF184C586}"/>
          </ac:cxnSpMkLst>
        </pc:cxnChg>
        <pc:cxnChg chg="mod ord">
          <ac:chgData name="Shawn Lee (UK)" userId="03222456-4c0b-46ad-acb4-22367bd0c05e" providerId="ADAL" clId="{0DB3D54B-15AC-4C22-98A4-738A26DC574F}" dt="2026-02-20T14:22:17.085" v="5267"/>
          <ac:cxnSpMkLst>
            <pc:docMk/>
            <pc:sldMk cId="2134929351" sldId="316"/>
            <ac:cxnSpMk id="327" creationId="{B6049285-9E09-FEC4-28EE-827C46CC8FDF}"/>
          </ac:cxnSpMkLst>
        </pc:cxnChg>
        <pc:cxnChg chg="mod ord">
          <ac:chgData name="Shawn Lee (UK)" userId="03222456-4c0b-46ad-acb4-22367bd0c05e" providerId="ADAL" clId="{0DB3D54B-15AC-4C22-98A4-738A26DC574F}" dt="2026-02-20T14:22:17.085" v="5269"/>
          <ac:cxnSpMkLst>
            <pc:docMk/>
            <pc:sldMk cId="2134929351" sldId="316"/>
            <ac:cxnSpMk id="328" creationId="{599189FA-F829-60A4-3BB0-2D0E011C4394}"/>
          </ac:cxnSpMkLst>
        </pc:cxnChg>
        <pc:cxnChg chg="mod ord">
          <ac:chgData name="Shawn Lee (UK)" userId="03222456-4c0b-46ad-acb4-22367bd0c05e" providerId="ADAL" clId="{0DB3D54B-15AC-4C22-98A4-738A26DC574F}" dt="2026-02-20T14:22:17.085" v="5271"/>
          <ac:cxnSpMkLst>
            <pc:docMk/>
            <pc:sldMk cId="2134929351" sldId="316"/>
            <ac:cxnSpMk id="329" creationId="{E51E833A-455C-562A-4504-E995C4A78A65}"/>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079005120702264E-3"/>
          <c:y val="1.9824628288219594E-2"/>
          <c:w val="0.98478419897585956"/>
          <c:h val="0.96035074342356086"/>
        </c:manualLayout>
      </c:layout>
      <c:barChart>
        <c:barDir val="col"/>
        <c:grouping val="stacked"/>
        <c:varyColors val="0"/>
        <c:ser>
          <c:idx val="0"/>
          <c:order val="0"/>
          <c:spPr>
            <a:solidFill>
              <a:srgbClr val="7030A0"/>
            </a:solidFill>
            <a:ln w="9525" cmpd="sng" algn="ctr">
              <a:solidFill>
                <a:srgbClr val="FFFFFF"/>
              </a:solidFill>
              <a:prstDash val="solid"/>
            </a:ln>
          </c:spPr>
          <c:invertIfNegative val="0"/>
          <c:dPt>
            <c:idx val="15"/>
            <c:invertIfNegative val="0"/>
            <c:bubble3D val="0"/>
            <c:spPr>
              <a:solidFill>
                <a:srgbClr val="739700"/>
              </a:solidFill>
              <a:ln w="9525" cmpd="sng" algn="ctr">
                <a:solidFill>
                  <a:srgbClr val="FFFFFF"/>
                </a:solidFill>
                <a:prstDash val="solid"/>
              </a:ln>
            </c:spPr>
            <c:extLst>
              <c:ext xmlns:c16="http://schemas.microsoft.com/office/drawing/2014/chart" uri="{C3380CC4-5D6E-409C-BE32-E72D297353CC}">
                <c16:uniqueId val="{00000000-28A3-4BC8-A2E8-2E7CC86375C5}"/>
              </c:ext>
            </c:extLst>
          </c:dPt>
          <c:val>
            <c:numRef>
              <c:f>Sheet1!$A$1:$P$1</c:f>
              <c:numCache>
                <c:formatCode>General</c:formatCode>
                <c:ptCount val="16"/>
                <c:pt idx="0">
                  <c:v>879836142</c:v>
                </c:pt>
                <c:pt idx="1">
                  <c:v>906915455</c:v>
                </c:pt>
                <c:pt idx="2">
                  <c:v>970146200</c:v>
                </c:pt>
                <c:pt idx="3">
                  <c:v>989619580</c:v>
                </c:pt>
                <c:pt idx="4">
                  <c:v>1018992650.05</c:v>
                </c:pt>
                <c:pt idx="5">
                  <c:v>1057948718</c:v>
                </c:pt>
                <c:pt idx="6">
                  <c:v>1127520232.1122451</c:v>
                </c:pt>
                <c:pt idx="7">
                  <c:v>1144300360.5805056</c:v>
                </c:pt>
                <c:pt idx="8">
                  <c:v>1209056085.1260052</c:v>
                </c:pt>
                <c:pt idx="9">
                  <c:v>1300818483.3802238</c:v>
                </c:pt>
                <c:pt idx="10">
                  <c:v>699134101.17822468</c:v>
                </c:pt>
                <c:pt idx="11">
                  <c:v>901318836.11286616</c:v>
                </c:pt>
                <c:pt idx="12">
                  <c:v>1179756316</c:v>
                </c:pt>
                <c:pt idx="13">
                  <c:v>1295253687</c:v>
                </c:pt>
                <c:pt idx="14">
                  <c:v>1399397205.7334108</c:v>
                </c:pt>
                <c:pt idx="15">
                  <c:v>1435359963.8761835</c:v>
                </c:pt>
              </c:numCache>
            </c:numRef>
          </c:val>
          <c:extLst>
            <c:ext xmlns:c16="http://schemas.microsoft.com/office/drawing/2014/chart" uri="{C3380CC4-5D6E-409C-BE32-E72D297353CC}">
              <c16:uniqueId val="{00000001-28A3-4BC8-A2E8-2E7CC86375C5}"/>
            </c:ext>
          </c:extLst>
        </c:ser>
        <c:dLbls>
          <c:showLegendKey val="0"/>
          <c:showVal val="0"/>
          <c:showCatName val="0"/>
          <c:showSerName val="0"/>
          <c:showPercent val="0"/>
          <c:showBubbleSize val="0"/>
        </c:dLbls>
        <c:gapWidth val="80"/>
        <c:overlap val="100"/>
        <c:axId val="321637407"/>
        <c:axId val="1"/>
      </c:barChart>
      <c:catAx>
        <c:axId val="321637407"/>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1600000000"/>
          <c:min val="0"/>
        </c:scaling>
        <c:delete val="0"/>
        <c:axPos val="l"/>
        <c:majorGridlines>
          <c:spPr>
            <a:ln>
              <a:noFill/>
            </a:ln>
          </c:spPr>
        </c:majorGridlines>
        <c:numFmt formatCode="General" sourceLinked="1"/>
        <c:majorTickMark val="out"/>
        <c:minorTickMark val="none"/>
        <c:tickLblPos val="none"/>
        <c:spPr>
          <a:ln w="9525" cmpd="sng" algn="ctr">
            <a:solidFill>
              <a:srgbClr val="EBEBEC"/>
            </a:solidFill>
            <a:prstDash val="solid"/>
          </a:ln>
        </c:spPr>
        <c:txPr>
          <a:bodyPr wrap="none"/>
          <a:lstStyle/>
          <a:p>
            <a:pPr>
              <a:defRPr sz="900" kern="1200">
                <a:latin typeface="Century Schoolbook (Body)"/>
                <a:ea typeface="+mn-ea"/>
                <a:cs typeface="+mn-cs"/>
              </a:defRPr>
            </a:pPr>
            <a:endParaRPr lang="en-US"/>
          </a:p>
        </c:txPr>
        <c:crossAx val="321637407"/>
        <c:crosses val="min"/>
        <c:crossBetween val="between"/>
        <c:majorUnit val="2000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57930642410457E-2"/>
          <c:y val="3.2999629217649241E-2"/>
          <c:w val="0.95665150653780562"/>
          <c:h val="0.93400074156470148"/>
        </c:manualLayout>
      </c:layout>
      <c:barChart>
        <c:barDir val="col"/>
        <c:grouping val="clustered"/>
        <c:varyColors val="0"/>
        <c:ser>
          <c:idx val="0"/>
          <c:order val="0"/>
          <c:spPr>
            <a:solidFill>
              <a:srgbClr val="7030A0"/>
            </a:solidFill>
            <a:ln w="9525" cmpd="sng" algn="ctr">
              <a:solidFill>
                <a:srgbClr val="FFFFFF"/>
              </a:solidFill>
              <a:prstDash val="solid"/>
            </a:ln>
          </c:spPr>
          <c:invertIfNegative val="0"/>
          <c:val>
            <c:numRef>
              <c:f>Sheet1!$A$1:$Q$1</c:f>
              <c:numCache>
                <c:formatCode>General</c:formatCode>
                <c:ptCount val="17"/>
                <c:pt idx="0">
                  <c:v>204</c:v>
                </c:pt>
                <c:pt idx="1">
                  <c:v>207</c:v>
                </c:pt>
                <c:pt idx="2">
                  <c:v>213</c:v>
                </c:pt>
                <c:pt idx="3">
                  <c:v>213</c:v>
                </c:pt>
                <c:pt idx="4">
                  <c:v>209</c:v>
                </c:pt>
                <c:pt idx="5">
                  <c:v>228</c:v>
                </c:pt>
                <c:pt idx="6">
                  <c:v>254.29837551020407</c:v>
                </c:pt>
                <c:pt idx="7">
                  <c:v>253.3961011430234</c:v>
                </c:pt>
                <c:pt idx="8">
                  <c:v>266.90127699999999</c:v>
                </c:pt>
                <c:pt idx="9">
                  <c:v>285.13241499999998</c:v>
                </c:pt>
                <c:pt idx="10">
                  <c:v>276.32252122558202</c:v>
                </c:pt>
                <c:pt idx="11">
                  <c:v>96.885563372517097</c:v>
                </c:pt>
                <c:pt idx="12">
                  <c:v>238.49554000000001</c:v>
                </c:pt>
                <c:pt idx="13">
                  <c:v>250.59165400000001</c:v>
                </c:pt>
                <c:pt idx="14">
                  <c:v>291.6198</c:v>
                </c:pt>
                <c:pt idx="15">
                  <c:v>296.68141447062698</c:v>
                </c:pt>
                <c:pt idx="16">
                  <c:v>341.24237798915601</c:v>
                </c:pt>
              </c:numCache>
            </c:numRef>
          </c:val>
          <c:extLst>
            <c:ext xmlns:c16="http://schemas.microsoft.com/office/drawing/2014/chart" uri="{C3380CC4-5D6E-409C-BE32-E72D297353CC}">
              <c16:uniqueId val="{00000000-C0AB-4CAE-89BC-06DE39BC4EFC}"/>
            </c:ext>
          </c:extLst>
        </c:ser>
        <c:ser>
          <c:idx val="1"/>
          <c:order val="1"/>
          <c:spPr>
            <a:solidFill>
              <a:schemeClr val="accent2"/>
            </a:solidFill>
            <a:ln w="9525" cmpd="sng" algn="ctr">
              <a:solidFill>
                <a:srgbClr val="FFFFFF"/>
              </a:solidFill>
              <a:prstDash val="solid"/>
            </a:ln>
          </c:spPr>
          <c:invertIfNegative val="0"/>
          <c:val>
            <c:numRef>
              <c:f>Sheet1!$A$2:$Q$2</c:f>
              <c:numCache>
                <c:formatCode>General</c:formatCode>
                <c:ptCount val="17"/>
                <c:pt idx="0">
                  <c:v>211</c:v>
                </c:pt>
                <c:pt idx="1">
                  <c:v>229</c:v>
                </c:pt>
                <c:pt idx="2">
                  <c:v>229</c:v>
                </c:pt>
                <c:pt idx="3">
                  <c:v>243</c:v>
                </c:pt>
                <c:pt idx="4">
                  <c:v>259</c:v>
                </c:pt>
                <c:pt idx="5">
                  <c:v>249</c:v>
                </c:pt>
                <c:pt idx="6">
                  <c:v>273.9442346938776</c:v>
                </c:pt>
                <c:pt idx="7">
                  <c:v>279.52578959415229</c:v>
                </c:pt>
                <c:pt idx="8">
                  <c:v>283.72737489534597</c:v>
                </c:pt>
                <c:pt idx="9">
                  <c:v>310.45233400000001</c:v>
                </c:pt>
                <c:pt idx="10">
                  <c:v>52.649205518690799</c:v>
                </c:pt>
                <c:pt idx="11">
                  <c:v>198.37723094896401</c:v>
                </c:pt>
                <c:pt idx="12">
                  <c:v>290.46523059173302</c:v>
                </c:pt>
                <c:pt idx="13">
                  <c:v>303</c:v>
                </c:pt>
                <c:pt idx="14">
                  <c:v>354.75108981787201</c:v>
                </c:pt>
                <c:pt idx="15">
                  <c:v>357.29287860109798</c:v>
                </c:pt>
              </c:numCache>
            </c:numRef>
          </c:val>
          <c:extLst>
            <c:ext xmlns:c16="http://schemas.microsoft.com/office/drawing/2014/chart" uri="{C3380CC4-5D6E-409C-BE32-E72D297353CC}">
              <c16:uniqueId val="{00000001-C0AB-4CAE-89BC-06DE39BC4EFC}"/>
            </c:ext>
          </c:extLst>
        </c:ser>
        <c:ser>
          <c:idx val="2"/>
          <c:order val="2"/>
          <c:spPr>
            <a:solidFill>
              <a:schemeClr val="accent3"/>
            </a:solidFill>
            <a:ln w="9525" cmpd="sng" algn="ctr">
              <a:solidFill>
                <a:srgbClr val="FFFFFF"/>
              </a:solidFill>
              <a:prstDash val="solid"/>
            </a:ln>
          </c:spPr>
          <c:invertIfNegative val="0"/>
          <c:val>
            <c:numRef>
              <c:f>Sheet1!$A$3:$Q$3</c:f>
              <c:numCache>
                <c:formatCode>General</c:formatCode>
                <c:ptCount val="17"/>
                <c:pt idx="0">
                  <c:v>212</c:v>
                </c:pt>
                <c:pt idx="1">
                  <c:v>214</c:v>
                </c:pt>
                <c:pt idx="2">
                  <c:v>269</c:v>
                </c:pt>
                <c:pt idx="3">
                  <c:v>256</c:v>
                </c:pt>
                <c:pt idx="4">
                  <c:v>258</c:v>
                </c:pt>
                <c:pt idx="5">
                  <c:v>271</c:v>
                </c:pt>
                <c:pt idx="6">
                  <c:v>281.41815714285713</c:v>
                </c:pt>
                <c:pt idx="7">
                  <c:v>279.86228308393805</c:v>
                </c:pt>
                <c:pt idx="8">
                  <c:v>300.19420073538703</c:v>
                </c:pt>
                <c:pt idx="9">
                  <c:v>329.527197957422</c:v>
                </c:pt>
                <c:pt idx="10">
                  <c:v>166.331851431188</c:v>
                </c:pt>
                <c:pt idx="11">
                  <c:v>270.44178497256502</c:v>
                </c:pt>
                <c:pt idx="12">
                  <c:v>306.05785900000001</c:v>
                </c:pt>
                <c:pt idx="13">
                  <c:v>345.52929395764801</c:v>
                </c:pt>
                <c:pt idx="14">
                  <c:v>361.33834162773701</c:v>
                </c:pt>
                <c:pt idx="15">
                  <c:v>376.63104499999997</c:v>
                </c:pt>
              </c:numCache>
            </c:numRef>
          </c:val>
          <c:extLst>
            <c:ext xmlns:c16="http://schemas.microsoft.com/office/drawing/2014/chart" uri="{C3380CC4-5D6E-409C-BE32-E72D297353CC}">
              <c16:uniqueId val="{00000002-C0AB-4CAE-89BC-06DE39BC4EFC}"/>
            </c:ext>
          </c:extLst>
        </c:ser>
        <c:ser>
          <c:idx val="3"/>
          <c:order val="3"/>
          <c:spPr>
            <a:solidFill>
              <a:srgbClr val="10CABC"/>
            </a:solidFill>
            <a:ln w="9525" cmpd="sng" algn="ctr">
              <a:solidFill>
                <a:srgbClr val="FFFFFF"/>
              </a:solidFill>
              <a:prstDash val="solid"/>
            </a:ln>
          </c:spPr>
          <c:invertIfNegative val="0"/>
          <c:val>
            <c:numRef>
              <c:f>Sheet1!$A$4:$Q$4</c:f>
              <c:numCache>
                <c:formatCode>General</c:formatCode>
                <c:ptCount val="17"/>
                <c:pt idx="0">
                  <c:v>252</c:v>
                </c:pt>
                <c:pt idx="1">
                  <c:v>256</c:v>
                </c:pt>
                <c:pt idx="2">
                  <c:v>259</c:v>
                </c:pt>
                <c:pt idx="3">
                  <c:v>277</c:v>
                </c:pt>
                <c:pt idx="4">
                  <c:v>294</c:v>
                </c:pt>
                <c:pt idx="5">
                  <c:v>310</c:v>
                </c:pt>
                <c:pt idx="6">
                  <c:v>317.85946295918399</c:v>
                </c:pt>
                <c:pt idx="7">
                  <c:v>331.51618675939187</c:v>
                </c:pt>
                <c:pt idx="8">
                  <c:v>358.23323111793115</c:v>
                </c:pt>
                <c:pt idx="9">
                  <c:v>375.70653602483799</c:v>
                </c:pt>
                <c:pt idx="10">
                  <c:v>203.83052222834601</c:v>
                </c:pt>
                <c:pt idx="11">
                  <c:v>335.61425700000001</c:v>
                </c:pt>
                <c:pt idx="12">
                  <c:v>346</c:v>
                </c:pt>
                <c:pt idx="13">
                  <c:v>396.01407499999999</c:v>
                </c:pt>
                <c:pt idx="14">
                  <c:v>391.68797427161502</c:v>
                </c:pt>
                <c:pt idx="15">
                  <c:v>404.75462589319602</c:v>
                </c:pt>
              </c:numCache>
            </c:numRef>
          </c:val>
          <c:extLst>
            <c:ext xmlns:c16="http://schemas.microsoft.com/office/drawing/2014/chart" uri="{C3380CC4-5D6E-409C-BE32-E72D297353CC}">
              <c16:uniqueId val="{00000003-C0AB-4CAE-89BC-06DE39BC4EFC}"/>
            </c:ext>
          </c:extLst>
        </c:ser>
        <c:dLbls>
          <c:showLegendKey val="0"/>
          <c:showVal val="0"/>
          <c:showCatName val="0"/>
          <c:showSerName val="0"/>
          <c:showPercent val="0"/>
          <c:showBubbleSize val="0"/>
        </c:dLbls>
        <c:gapWidth val="80"/>
        <c:axId val="124870239"/>
        <c:axId val="1"/>
      </c:barChart>
      <c:catAx>
        <c:axId val="124870239"/>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450"/>
          <c:min val="0"/>
        </c:scaling>
        <c:delete val="0"/>
        <c:axPos val="l"/>
        <c:majorGridlines>
          <c:spPr>
            <a:ln w="3175" cmpd="sng" algn="ctr">
              <a:solidFill>
                <a:srgbClr val="DEDEDE"/>
              </a:solidFill>
              <a:prstDash val="solid"/>
            </a:ln>
          </c:spPr>
        </c:majorGridlines>
        <c:numFmt formatCode="#,##0;&quot;-&quot;#,##0" sourceLinked="0"/>
        <c:majorTickMark val="out"/>
        <c:minorTickMark val="none"/>
        <c:tickLblPos val="nextTo"/>
        <c:spPr>
          <a:ln w="9525" cmpd="sng" algn="ctr">
            <a:solidFill>
              <a:srgbClr val="EBEBEC"/>
            </a:solidFill>
            <a:prstDash val="solid"/>
          </a:ln>
        </c:spPr>
        <c:txPr>
          <a:bodyPr wrap="none"/>
          <a:lstStyle/>
          <a:p>
            <a:pPr>
              <a:defRPr sz="900" kern="1200">
                <a:solidFill>
                  <a:srgbClr val="ACAEB1"/>
                </a:solidFill>
                <a:latin typeface="Century Schoolbook (Body)"/>
                <a:ea typeface="+mn-ea"/>
                <a:cs typeface="+mn-cs"/>
              </a:defRPr>
            </a:pPr>
            <a:endParaRPr lang="en-US"/>
          </a:p>
        </c:txPr>
        <c:crossAx val="124870239"/>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57930642410457E-2"/>
          <c:y val="4.6453006841915737E-2"/>
          <c:w val="0.95665150653780562"/>
          <c:h val="0.90709398631616855"/>
        </c:manualLayout>
      </c:layout>
      <c:barChart>
        <c:barDir val="col"/>
        <c:grouping val="clustered"/>
        <c:varyColors val="0"/>
        <c:ser>
          <c:idx val="0"/>
          <c:order val="0"/>
          <c:spPr>
            <a:solidFill>
              <a:srgbClr val="7030A0"/>
            </a:solidFill>
            <a:ln w="9525" cmpd="sng" algn="ctr">
              <a:solidFill>
                <a:srgbClr val="FFFFFF"/>
              </a:solidFill>
              <a:prstDash val="solid"/>
            </a:ln>
          </c:spPr>
          <c:invertIfNegative val="0"/>
          <c:dLbls>
            <c:dLbl>
              <c:idx val="1"/>
              <c:layout>
                <c:manualLayout>
                  <c:x val="-2.8425241614553724E-3"/>
                  <c:y val="-0.23082463089665106"/>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C4-4AD2-BB75-8447232DAA5A}"/>
                </c:ext>
              </c:extLst>
            </c:dLbl>
            <c:dLbl>
              <c:idx val="4"/>
              <c:layout>
                <c:manualLayout>
                  <c:x val="-2.8425241614553724E-3"/>
                  <c:y val="-0.26863521786100109"/>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C4-4AD2-BB75-8447232DAA5A}"/>
                </c:ext>
              </c:extLst>
            </c:dLbl>
            <c:dLbl>
              <c:idx val="6"/>
              <c:layout>
                <c:manualLayout>
                  <c:x val="-2.8425241614553724E-3"/>
                  <c:y val="-0.29708318329132155"/>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C4-4AD2-BB75-8447232DAA5A}"/>
                </c:ext>
              </c:extLst>
            </c:dLbl>
            <c:dLbl>
              <c:idx val="9"/>
              <c:layout>
                <c:manualLayout>
                  <c:x val="-2.8425241614553724E-3"/>
                  <c:y val="-0.33093266114512065"/>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C4-4AD2-BB75-8447232DAA5A}"/>
                </c:ext>
              </c:extLst>
            </c:dLbl>
            <c:dLbl>
              <c:idx val="11"/>
              <c:layout>
                <c:manualLayout>
                  <c:x val="-2.8425241614553724E-3"/>
                  <c:y val="-0.14800144040331292"/>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C4-4AD2-BB75-8447232DAA5A}"/>
                </c:ext>
              </c:extLst>
            </c:dLbl>
            <c:dLbl>
              <c:idx val="12"/>
              <c:layout>
                <c:manualLayout>
                  <c:x val="-2.8425241614553724E-3"/>
                  <c:y val="-0.2441483615412315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3C4-4AD2-BB75-8447232DAA5A}"/>
                </c:ext>
              </c:extLst>
            </c:dLbl>
            <c:dLbl>
              <c:idx val="13"/>
              <c:layout>
                <c:manualLayout>
                  <c:x val="-2.8425241614553724E-3"/>
                  <c:y val="-0.27367662945624777"/>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3C4-4AD2-BB75-8447232DAA5A}"/>
                </c:ext>
              </c:extLst>
            </c:dLbl>
            <c:dLbl>
              <c:idx val="15"/>
              <c:layout>
                <c:manualLayout>
                  <c:x val="-2.8425241614553724E-3"/>
                  <c:y val="-0.3212099387828591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3C4-4AD2-BB75-8447232DA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329</c:v>
                </c:pt>
                <c:pt idx="1">
                  <c:v>347</c:v>
                </c:pt>
                <c:pt idx="2">
                  <c:v>389</c:v>
                </c:pt>
                <c:pt idx="3">
                  <c:v>380</c:v>
                </c:pt>
                <c:pt idx="4">
                  <c:v>409</c:v>
                </c:pt>
                <c:pt idx="5">
                  <c:v>431</c:v>
                </c:pt>
                <c:pt idx="6">
                  <c:v>456</c:v>
                </c:pt>
                <c:pt idx="7">
                  <c:v>444</c:v>
                </c:pt>
                <c:pt idx="8">
                  <c:v>478</c:v>
                </c:pt>
                <c:pt idx="9">
                  <c:v>512</c:v>
                </c:pt>
                <c:pt idx="10">
                  <c:v>187</c:v>
                </c:pt>
                <c:pt idx="11">
                  <c:v>210</c:v>
                </c:pt>
                <c:pt idx="12">
                  <c:v>369</c:v>
                </c:pt>
                <c:pt idx="13">
                  <c:v>417</c:v>
                </c:pt>
                <c:pt idx="14">
                  <c:v>477.10216595454551</c:v>
                </c:pt>
                <c:pt idx="15">
                  <c:v>496.04143032653832</c:v>
                </c:pt>
              </c:numCache>
            </c:numRef>
          </c:val>
          <c:extLst>
            <c:ext xmlns:c16="http://schemas.microsoft.com/office/drawing/2014/chart" uri="{C3380CC4-5D6E-409C-BE32-E72D297353CC}">
              <c16:uniqueId val="{00000008-83C4-4AD2-BB75-8447232DAA5A}"/>
            </c:ext>
          </c:extLst>
        </c:ser>
        <c:ser>
          <c:idx val="1"/>
          <c:order val="1"/>
          <c:spPr>
            <a:solidFill>
              <a:schemeClr val="accent2"/>
            </a:solidFill>
            <a:ln w="9525" cmpd="sng" algn="ctr">
              <a:solidFill>
                <a:srgbClr val="FFFFFF"/>
              </a:solidFill>
              <a:prstDash val="solid"/>
            </a:ln>
          </c:spPr>
          <c:invertIfNegative val="0"/>
          <c:dLbls>
            <c:dLbl>
              <c:idx val="0"/>
              <c:layout>
                <c:manualLayout>
                  <c:x val="0"/>
                  <c:y val="-0.29312207418077063"/>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3C4-4AD2-BB75-8447232DAA5A}"/>
                </c:ext>
              </c:extLst>
            </c:dLbl>
            <c:dLbl>
              <c:idx val="1"/>
              <c:layout>
                <c:manualLayout>
                  <c:x val="0"/>
                  <c:y val="-0.29312207418077063"/>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3C4-4AD2-BB75-8447232DAA5A}"/>
                </c:ext>
              </c:extLst>
            </c:dLbl>
            <c:dLbl>
              <c:idx val="2"/>
              <c:layout>
                <c:manualLayout>
                  <c:x val="0"/>
                  <c:y val="-0.30248469571480013"/>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3C4-4AD2-BB75-8447232DAA5A}"/>
                </c:ext>
              </c:extLst>
            </c:dLbl>
            <c:dLbl>
              <c:idx val="5"/>
              <c:layout>
                <c:manualLayout>
                  <c:x val="0"/>
                  <c:y val="-0.31976953546993159"/>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3C4-4AD2-BB75-8447232DAA5A}"/>
                </c:ext>
              </c:extLst>
            </c:dLbl>
            <c:dLbl>
              <c:idx val="6"/>
              <c:layout>
                <c:manualLayout>
                  <c:x val="0"/>
                  <c:y val="-0.33309326611451207"/>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3C4-4AD2-BB75-8447232DAA5A}"/>
                </c:ext>
              </c:extLst>
            </c:dLbl>
            <c:dLbl>
              <c:idx val="8"/>
              <c:layout>
                <c:manualLayout>
                  <c:x val="0"/>
                  <c:y val="-0.36190133237306443"/>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3C4-4AD2-BB75-8447232DAA5A}"/>
                </c:ext>
              </c:extLst>
            </c:dLbl>
            <c:dLbl>
              <c:idx val="9"/>
              <c:layout>
                <c:manualLayout>
                  <c:x val="0"/>
                  <c:y val="-0.38710839034929778"/>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3C4-4AD2-BB75-8447232DAA5A}"/>
                </c:ext>
              </c:extLst>
            </c:dLbl>
            <c:dLbl>
              <c:idx val="10"/>
              <c:layout>
                <c:manualLayout>
                  <c:x val="0"/>
                  <c:y val="-0.26107310046813109"/>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3C4-4AD2-BB75-8447232DAA5A}"/>
                </c:ext>
              </c:extLst>
            </c:dLbl>
            <c:dLbl>
              <c:idx val="14"/>
              <c:layout>
                <c:manualLayout>
                  <c:x val="0"/>
                  <c:y val="-0.4562477493698235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3C4-4AD2-BB75-8447232DA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0">
                  <c:v>450</c:v>
                </c:pt>
                <c:pt idx="1">
                  <c:v>450</c:v>
                </c:pt>
                <c:pt idx="2">
                  <c:v>465</c:v>
                </c:pt>
                <c:pt idx="3">
                  <c:v>484</c:v>
                </c:pt>
                <c:pt idx="4">
                  <c:v>488</c:v>
                </c:pt>
                <c:pt idx="5">
                  <c:v>494</c:v>
                </c:pt>
                <c:pt idx="6">
                  <c:v>516</c:v>
                </c:pt>
                <c:pt idx="7">
                  <c:v>532</c:v>
                </c:pt>
                <c:pt idx="8">
                  <c:v>563</c:v>
                </c:pt>
                <c:pt idx="9">
                  <c:v>605</c:v>
                </c:pt>
                <c:pt idx="10">
                  <c:v>397</c:v>
                </c:pt>
                <c:pt idx="11">
                  <c:v>540</c:v>
                </c:pt>
                <c:pt idx="12">
                  <c:v>624</c:v>
                </c:pt>
                <c:pt idx="13">
                  <c:v>686</c:v>
                </c:pt>
                <c:pt idx="14">
                  <c:v>719.65726000737368</c:v>
                </c:pt>
                <c:pt idx="15">
                  <c:v>726.57284297881745</c:v>
                </c:pt>
              </c:numCache>
            </c:numRef>
          </c:val>
          <c:extLst>
            <c:ext xmlns:c16="http://schemas.microsoft.com/office/drawing/2014/chart" uri="{C3380CC4-5D6E-409C-BE32-E72D297353CC}">
              <c16:uniqueId val="{00000012-83C4-4AD2-BB75-8447232DAA5A}"/>
            </c:ext>
          </c:extLst>
        </c:ser>
        <c:ser>
          <c:idx val="2"/>
          <c:order val="2"/>
          <c:spPr>
            <a:solidFill>
              <a:schemeClr val="accent3"/>
            </a:solidFill>
            <a:ln w="9525" cmpd="sng" algn="ctr">
              <a:solidFill>
                <a:srgbClr val="FFFFFF"/>
              </a:solidFill>
              <a:prstDash val="solid"/>
            </a:ln>
          </c:spPr>
          <c:invertIfNegative val="0"/>
          <c:dLbls>
            <c:dLbl>
              <c:idx val="0"/>
              <c:layout>
                <c:manualLayout>
                  <c:x val="2.9846503695281409E-3"/>
                  <c:y val="-8.174288800864242E-2"/>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3C4-4AD2-BB75-8447232DAA5A}"/>
                </c:ext>
              </c:extLst>
            </c:dLbl>
            <c:dLbl>
              <c:idx val="1"/>
              <c:layout>
                <c:manualLayout>
                  <c:x val="2.9846503695281409E-3"/>
                  <c:y val="-8.7504501260352904E-2"/>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3C4-4AD2-BB75-8447232DAA5A}"/>
                </c:ext>
              </c:extLst>
            </c:dLbl>
            <c:dLbl>
              <c:idx val="2"/>
              <c:layout>
                <c:manualLayout>
                  <c:x val="2.9846503695281409E-3"/>
                  <c:y val="-9.218581202736767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3C4-4AD2-BB75-8447232DAA5A}"/>
                </c:ext>
              </c:extLst>
            </c:dLbl>
            <c:dLbl>
              <c:idx val="6"/>
              <c:layout>
                <c:manualLayout>
                  <c:x val="2.9846503695281409E-3"/>
                  <c:y val="-0.11523226503420958"/>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3C4-4AD2-BB75-8447232DAA5A}"/>
                </c:ext>
              </c:extLst>
            </c:dLbl>
            <c:dLbl>
              <c:idx val="7"/>
              <c:layout>
                <c:manualLayout>
                  <c:x val="2.9846503695281409E-3"/>
                  <c:y val="-0.1227943824270795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3C4-4AD2-BB75-8447232DAA5A}"/>
                </c:ext>
              </c:extLst>
            </c:dLbl>
            <c:dLbl>
              <c:idx val="8"/>
              <c:layout>
                <c:manualLayout>
                  <c:x val="2.9846503695281409E-3"/>
                  <c:y val="-0.1227943824270795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3C4-4AD2-BB75-8447232DAA5A}"/>
                </c:ext>
              </c:extLst>
            </c:dLbl>
            <c:dLbl>
              <c:idx val="10"/>
              <c:layout>
                <c:manualLayout>
                  <c:x val="2.9846503695281409E-3"/>
                  <c:y val="-9.0745408714440048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3C4-4AD2-BB75-8447232DAA5A}"/>
                </c:ext>
              </c:extLst>
            </c:dLbl>
            <c:dLbl>
              <c:idx val="11"/>
              <c:layout>
                <c:manualLayout>
                  <c:x val="2.9846503695281409E-3"/>
                  <c:y val="-0.11235145840835434"/>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3C4-4AD2-BB75-8447232DAA5A}"/>
                </c:ext>
              </c:extLst>
            </c:dLbl>
            <c:dLbl>
              <c:idx val="14"/>
              <c:layout>
                <c:manualLayout>
                  <c:x val="2.9846503695281409E-3"/>
                  <c:y val="-0.14404033129276198"/>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3C4-4AD2-BB75-8447232DAA5A}"/>
                </c:ext>
              </c:extLst>
            </c:dLbl>
            <c:dLbl>
              <c:idx val="15"/>
              <c:layout>
                <c:manualLayout>
                  <c:x val="2.9846503695281409E-3"/>
                  <c:y val="-0.15016204537270436"/>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3C4-4AD2-BB75-8447232DAA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100</c:v>
                </c:pt>
                <c:pt idx="1">
                  <c:v>110</c:v>
                </c:pt>
                <c:pt idx="2">
                  <c:v>117</c:v>
                </c:pt>
                <c:pt idx="3">
                  <c:v>126</c:v>
                </c:pt>
                <c:pt idx="4">
                  <c:v>122</c:v>
                </c:pt>
                <c:pt idx="5">
                  <c:v>134</c:v>
                </c:pt>
                <c:pt idx="6">
                  <c:v>155</c:v>
                </c:pt>
                <c:pt idx="7">
                  <c:v>168</c:v>
                </c:pt>
                <c:pt idx="8">
                  <c:v>168</c:v>
                </c:pt>
                <c:pt idx="9">
                  <c:v>183</c:v>
                </c:pt>
                <c:pt idx="10">
                  <c:v>115</c:v>
                </c:pt>
                <c:pt idx="11">
                  <c:v>151</c:v>
                </c:pt>
                <c:pt idx="12">
                  <c:v>187</c:v>
                </c:pt>
                <c:pt idx="13">
                  <c:v>192</c:v>
                </c:pt>
                <c:pt idx="14">
                  <c:v>202.63777977149172</c:v>
                </c:pt>
                <c:pt idx="15">
                  <c:v>212.74569057082783</c:v>
                </c:pt>
              </c:numCache>
            </c:numRef>
          </c:val>
          <c:extLst>
            <c:ext xmlns:c16="http://schemas.microsoft.com/office/drawing/2014/chart" uri="{C3380CC4-5D6E-409C-BE32-E72D297353CC}">
              <c16:uniqueId val="{0000001D-83C4-4AD2-BB75-8447232DAA5A}"/>
            </c:ext>
          </c:extLst>
        </c:ser>
        <c:dLbls>
          <c:showLegendKey val="0"/>
          <c:showVal val="0"/>
          <c:showCatName val="0"/>
          <c:showSerName val="0"/>
          <c:showPercent val="0"/>
          <c:showBubbleSize val="0"/>
        </c:dLbls>
        <c:gapWidth val="80"/>
        <c:axId val="100214207"/>
        <c:axId val="1"/>
      </c:barChart>
      <c:catAx>
        <c:axId val="100214207"/>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750"/>
          <c:min val="0"/>
        </c:scaling>
        <c:delete val="0"/>
        <c:axPos val="l"/>
        <c:majorGridlines>
          <c:spPr>
            <a:ln w="3175" cmpd="sng" algn="ctr">
              <a:solidFill>
                <a:srgbClr val="DEDEDE"/>
              </a:solidFill>
              <a:prstDash val="solid"/>
            </a:ln>
          </c:spPr>
        </c:majorGridlines>
        <c:numFmt formatCode="#,##0;&quot;-&quot;#,##0" sourceLinked="0"/>
        <c:majorTickMark val="out"/>
        <c:minorTickMark val="none"/>
        <c:tickLblPos val="nextTo"/>
        <c:spPr>
          <a:ln w="9525" cmpd="sng" algn="ctr">
            <a:solidFill>
              <a:srgbClr val="EBEBEC"/>
            </a:solidFill>
            <a:prstDash val="solid"/>
          </a:ln>
        </c:spPr>
        <c:txPr>
          <a:bodyPr wrap="none"/>
          <a:lstStyle/>
          <a:p>
            <a:pPr>
              <a:defRPr sz="900" kern="1200">
                <a:solidFill>
                  <a:srgbClr val="ACAEB1"/>
                </a:solidFill>
                <a:latin typeface="Century Schoolbook (Body)"/>
                <a:ea typeface="+mn-ea"/>
                <a:cs typeface="+mn-cs"/>
              </a:defRPr>
            </a:pPr>
            <a:endParaRPr lang="en-US"/>
          </a:p>
        </c:txPr>
        <c:crossAx val="100214207"/>
        <c:crosses val="min"/>
        <c:crossBetween val="between"/>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109357384441938E-2"/>
          <c:y val="4.6453006841915737E-2"/>
          <c:w val="0.94856257046223225"/>
          <c:h val="0.90709398631616855"/>
        </c:manualLayout>
      </c:layout>
      <c:barChart>
        <c:barDir val="col"/>
        <c:grouping val="stacked"/>
        <c:varyColors val="0"/>
        <c:ser>
          <c:idx val="0"/>
          <c:order val="0"/>
          <c:spPr>
            <a:solidFill>
              <a:srgbClr val="7030A0"/>
            </a:solidFill>
            <a:ln w="9525" cmpd="sng" algn="ctr">
              <a:solidFill>
                <a:srgbClr val="FFFFFF"/>
              </a:solidFill>
              <a:prstDash val="solid"/>
            </a:ln>
          </c:spPr>
          <c:invertIfNegative val="0"/>
          <c:dPt>
            <c:idx val="14"/>
            <c:invertIfNegative val="0"/>
            <c:bubble3D val="0"/>
            <c:spPr>
              <a:solidFill>
                <a:srgbClr val="739700"/>
              </a:solidFill>
              <a:ln w="9525" cmpd="sng" algn="ctr">
                <a:solidFill>
                  <a:srgbClr val="FFFFFF"/>
                </a:solidFill>
                <a:prstDash val="solid"/>
              </a:ln>
            </c:spPr>
            <c:extLst>
              <c:ext xmlns:c16="http://schemas.microsoft.com/office/drawing/2014/chart" uri="{C3380CC4-5D6E-409C-BE32-E72D297353CC}">
                <c16:uniqueId val="{00000000-EBB9-466C-8B29-721F4D995D65}"/>
              </c:ext>
            </c:extLst>
          </c:dPt>
          <c:dLbls>
            <c:dLbl>
              <c:idx val="0"/>
              <c:layout>
                <c:manualLayout>
                  <c:x val="0"/>
                  <c:y val="-7.9222182211019079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B9-466C-8B29-721F4D995D65}"/>
                </c:ext>
              </c:extLst>
            </c:dLbl>
            <c:dLbl>
              <c:idx val="2"/>
              <c:layout>
                <c:manualLayout>
                  <c:x val="0"/>
                  <c:y val="-0.1181130716600648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B9-466C-8B29-721F4D995D65}"/>
                </c:ext>
              </c:extLst>
            </c:dLbl>
            <c:dLbl>
              <c:idx val="4"/>
              <c:layout>
                <c:manualLayout>
                  <c:x val="0"/>
                  <c:y val="-0.17428880086424198"/>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B9-466C-8B29-721F4D995D65}"/>
                </c:ext>
              </c:extLst>
            </c:dLbl>
            <c:dLbl>
              <c:idx val="5"/>
              <c:layout>
                <c:manualLayout>
                  <c:x val="0"/>
                  <c:y val="-0.2149801944544472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B9-466C-8B29-721F4D995D65}"/>
                </c:ext>
              </c:extLst>
            </c:dLbl>
            <c:dLbl>
              <c:idx val="6"/>
              <c:layout>
                <c:manualLayout>
                  <c:x val="0"/>
                  <c:y val="-0.25963269715520348"/>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B9-466C-8B29-721F4D995D65}"/>
                </c:ext>
              </c:extLst>
            </c:dLbl>
            <c:dLbl>
              <c:idx val="7"/>
              <c:layout>
                <c:manualLayout>
                  <c:x val="0"/>
                  <c:y val="-0.2949225783219301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B9-466C-8B29-721F4D995D65}"/>
                </c:ext>
              </c:extLst>
            </c:dLbl>
            <c:dLbl>
              <c:idx val="8"/>
              <c:layout>
                <c:manualLayout>
                  <c:x val="0"/>
                  <c:y val="-0.33597407274036728"/>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BB9-466C-8B29-721F4D995D65}"/>
                </c:ext>
              </c:extLst>
            </c:dLbl>
            <c:dLbl>
              <c:idx val="9"/>
              <c:layout>
                <c:manualLayout>
                  <c:x val="0"/>
                  <c:y val="-0.20921858120273676"/>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B9-466C-8B29-721F4D995D65}"/>
                </c:ext>
              </c:extLst>
            </c:dLbl>
            <c:dLbl>
              <c:idx val="11"/>
              <c:layout>
                <c:manualLayout>
                  <c:x val="0"/>
                  <c:y val="-0.36046092906013683"/>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B9-466C-8B29-721F4D995D65}"/>
                </c:ext>
              </c:extLst>
            </c:dLbl>
            <c:dLbl>
              <c:idx val="12"/>
              <c:layout>
                <c:manualLayout>
                  <c:x val="0"/>
                  <c:y val="-0.40259272596326973"/>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B9-466C-8B29-721F4D995D65}"/>
                </c:ext>
              </c:extLst>
            </c:dLbl>
            <c:dLbl>
              <c:idx val="13"/>
              <c:layout>
                <c:manualLayout>
                  <c:x val="0"/>
                  <c:y val="-0.44508462369463447"/>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BB9-466C-8B29-721F4D995D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28</c:v>
                </c:pt>
                <c:pt idx="1">
                  <c:v>182</c:v>
                </c:pt>
                <c:pt idx="2">
                  <c:v>214</c:v>
                </c:pt>
                <c:pt idx="3">
                  <c:v>272</c:v>
                </c:pt>
                <c:pt idx="4">
                  <c:v>337</c:v>
                </c:pt>
                <c:pt idx="5">
                  <c:v>427.67293896938776</c:v>
                </c:pt>
                <c:pt idx="6">
                  <c:v>525.63269157055333</c:v>
                </c:pt>
                <c:pt idx="7">
                  <c:v>602.95119210849725</c:v>
                </c:pt>
                <c:pt idx="8">
                  <c:v>694.04278361781405</c:v>
                </c:pt>
                <c:pt idx="9">
                  <c:v>414.91699650312512</c:v>
                </c:pt>
                <c:pt idx="10">
                  <c:v>576.82545280589738</c:v>
                </c:pt>
                <c:pt idx="11">
                  <c:v>748.46140500000001</c:v>
                </c:pt>
                <c:pt idx="12">
                  <c:v>841.30921599999999</c:v>
                </c:pt>
                <c:pt idx="13">
                  <c:v>934.08571156664402</c:v>
                </c:pt>
                <c:pt idx="14">
                  <c:v>963.98847861051195</c:v>
                </c:pt>
              </c:numCache>
            </c:numRef>
          </c:val>
          <c:extLst>
            <c:ext xmlns:c16="http://schemas.microsoft.com/office/drawing/2014/chart" uri="{C3380CC4-5D6E-409C-BE32-E72D297353CC}">
              <c16:uniqueId val="{0000000C-EBB9-466C-8B29-721F4D995D65}"/>
            </c:ext>
          </c:extLst>
        </c:ser>
        <c:dLbls>
          <c:showLegendKey val="0"/>
          <c:showVal val="0"/>
          <c:showCatName val="0"/>
          <c:showSerName val="0"/>
          <c:showPercent val="0"/>
          <c:showBubbleSize val="0"/>
        </c:dLbls>
        <c:gapWidth val="80"/>
        <c:overlap val="100"/>
        <c:axId val="789881679"/>
        <c:axId val="1"/>
      </c:barChart>
      <c:catAx>
        <c:axId val="789881679"/>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rgbClr val="EBEBEC"/>
            </a:solidFill>
            <a:prstDash val="solid"/>
          </a:ln>
        </c:spPr>
        <c:txPr>
          <a:bodyPr wrap="none"/>
          <a:lstStyle/>
          <a:p>
            <a:pPr>
              <a:defRPr sz="900" kern="1200">
                <a:solidFill>
                  <a:srgbClr val="ACAEB1"/>
                </a:solidFill>
                <a:latin typeface="Century Schoolbook (Body)"/>
                <a:ea typeface="+mn-ea"/>
                <a:cs typeface="+mn-cs"/>
              </a:defRPr>
            </a:pPr>
            <a:endParaRPr lang="en-US"/>
          </a:p>
        </c:txPr>
        <c:crossAx val="789881679"/>
        <c:crosses val="min"/>
        <c:crossBetween val="between"/>
        <c:majorUnit val="1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079005120702264E-3"/>
          <c:y val="4.6453006841915737E-2"/>
          <c:w val="0.98478419897585956"/>
          <c:h val="0.90709398631616855"/>
        </c:manualLayout>
      </c:layout>
      <c:barChart>
        <c:barDir val="col"/>
        <c:grouping val="stacked"/>
        <c:varyColors val="0"/>
        <c:ser>
          <c:idx val="0"/>
          <c:order val="0"/>
          <c:spPr>
            <a:solidFill>
              <a:schemeClr val="accent5"/>
            </a:solidFill>
            <a:ln w="9525" cmpd="sng" algn="ctr">
              <a:solidFill>
                <a:srgbClr val="FFFFFF"/>
              </a:solidFill>
              <a:prstDash val="solid"/>
            </a:ln>
          </c:spPr>
          <c:invertIfNegative val="0"/>
          <c:dPt>
            <c:idx val="14"/>
            <c:invertIfNegative val="0"/>
            <c:bubble3D val="0"/>
            <c:spPr>
              <a:solidFill>
                <a:srgbClr val="739700"/>
              </a:solidFill>
              <a:ln w="9525" cmpd="sng" algn="ctr">
                <a:solidFill>
                  <a:srgbClr val="FFFFFF"/>
                </a:solidFill>
                <a:prstDash val="solid"/>
              </a:ln>
            </c:spPr>
            <c:extLst>
              <c:ext xmlns:c16="http://schemas.microsoft.com/office/drawing/2014/chart" uri="{C3380CC4-5D6E-409C-BE32-E72D297353CC}">
                <c16:uniqueId val="{00000000-73E3-4ECF-9548-465E03DDACCA}"/>
              </c:ext>
            </c:extLst>
          </c:dPt>
          <c:dLbls>
            <c:dLbl>
              <c:idx val="0"/>
              <c:layout>
                <c:manualLayout>
                  <c:x val="0"/>
                  <c:y val="-0.11271155923658624"/>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E3-4ECF-9548-465E03DDACCA}"/>
                </c:ext>
              </c:extLst>
            </c:dLbl>
            <c:dLbl>
              <c:idx val="2"/>
              <c:layout>
                <c:manualLayout>
                  <c:x val="0"/>
                  <c:y val="-0.1613251710478934"/>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E3-4ECF-9548-465E03DDACCA}"/>
                </c:ext>
              </c:extLst>
            </c:dLbl>
            <c:dLbl>
              <c:idx val="3"/>
              <c:layout>
                <c:manualLayout>
                  <c:x val="0"/>
                  <c:y val="-0.19445444724522867"/>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E3-4ECF-9548-465E03DDACCA}"/>
                </c:ext>
              </c:extLst>
            </c:dLbl>
            <c:dLbl>
              <c:idx val="4"/>
              <c:layout>
                <c:manualLayout>
                  <c:x val="0"/>
                  <c:y val="-0.22758372344256392"/>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E3-4ECF-9548-465E03DDACCA}"/>
                </c:ext>
              </c:extLst>
            </c:dLbl>
            <c:dLbl>
              <c:idx val="6"/>
              <c:layout>
                <c:manualLayout>
                  <c:x val="0"/>
                  <c:y val="-0.31904933381346778"/>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E3-4ECF-9548-465E03DDACCA}"/>
                </c:ext>
              </c:extLst>
            </c:dLbl>
            <c:dLbl>
              <c:idx val="7"/>
              <c:layout>
                <c:manualLayout>
                  <c:x val="0"/>
                  <c:y val="-0.34461649261793303"/>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E3-4ECF-9548-465E03DDACCA}"/>
                </c:ext>
              </c:extLst>
            </c:dLbl>
            <c:dLbl>
              <c:idx val="8"/>
              <c:layout>
                <c:manualLayout>
                  <c:x val="0"/>
                  <c:y val="-0.36694274396831111"/>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E3-4ECF-9548-465E03DDACCA}"/>
                </c:ext>
              </c:extLst>
            </c:dLbl>
            <c:dLbl>
              <c:idx val="9"/>
              <c:layout>
                <c:manualLayout>
                  <c:x val="0"/>
                  <c:y val="-0.40583363341735684"/>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E3-4ECF-9548-465E03DDACCA}"/>
                </c:ext>
              </c:extLst>
            </c:dLbl>
            <c:dLbl>
              <c:idx val="10"/>
              <c:layout>
                <c:manualLayout>
                  <c:x val="0"/>
                  <c:y val="-0.43572200216060497"/>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E3-4ECF-9548-465E03DDACCA}"/>
                </c:ext>
              </c:extLst>
            </c:dLbl>
            <c:dLbl>
              <c:idx val="11"/>
              <c:layout>
                <c:manualLayout>
                  <c:x val="0"/>
                  <c:y val="-0.42924018725243068"/>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E3-4ECF-9548-465E03DDACCA}"/>
                </c:ext>
              </c:extLst>
            </c:dLbl>
            <c:dLbl>
              <c:idx val="12"/>
              <c:layout>
                <c:manualLayout>
                  <c:x val="0"/>
                  <c:y val="-0.44220381706877926"/>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E3-4ECF-9548-465E03DDACCA}"/>
                </c:ext>
              </c:extLst>
            </c:dLbl>
            <c:dLbl>
              <c:idx val="13"/>
              <c:layout>
                <c:manualLayout>
                  <c:x val="0"/>
                  <c:y val="-0.45372704357220023"/>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E3-4ECF-9548-465E03DDACCA}"/>
                </c:ext>
              </c:extLst>
            </c:dLbl>
            <c:dLbl>
              <c:idx val="14"/>
              <c:layout>
                <c:manualLayout>
                  <c:x val="0"/>
                  <c:y val="-0.45660785019805544"/>
                </c:manualLayout>
              </c:layout>
              <c:numFmt formatCode="#,##0&quot;%&quot;;&quot;-&quot;#,##0&quot;%&quot;"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E3-4ECF-9548-465E03DDAC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4.113774254734693</c:v>
                </c:pt>
                <c:pt idx="1">
                  <c:v>18.760059050893567</c:v>
                </c:pt>
                <c:pt idx="2">
                  <c:v>21.62447109221505</c:v>
                </c:pt>
                <c:pt idx="3">
                  <c:v>26.693028648111788</c:v>
                </c:pt>
                <c:pt idx="4">
                  <c:v>31.854095975188844</c:v>
                </c:pt>
                <c:pt idx="5">
                  <c:v>37.930400429995366</c:v>
                </c:pt>
                <c:pt idx="6">
                  <c:v>45.934853267362335</c:v>
                </c:pt>
                <c:pt idx="7">
                  <c:v>49.869580040669412</c:v>
                </c:pt>
                <c:pt idx="8">
                  <c:v>53.354314417052166</c:v>
                </c:pt>
                <c:pt idx="9">
                  <c:v>59.347269115307199</c:v>
                </c:pt>
                <c:pt idx="10">
                  <c:v>63.997936101455799</c:v>
                </c:pt>
                <c:pt idx="11">
                  <c:v>63</c:v>
                </c:pt>
                <c:pt idx="12">
                  <c:v>65</c:v>
                </c:pt>
                <c:pt idx="13">
                  <c:v>66.749147971686725</c:v>
                </c:pt>
                <c:pt idx="14">
                  <c:v>67.160050640347052</c:v>
                </c:pt>
              </c:numCache>
            </c:numRef>
          </c:val>
          <c:extLst>
            <c:ext xmlns:c16="http://schemas.microsoft.com/office/drawing/2014/chart" uri="{C3380CC4-5D6E-409C-BE32-E72D297353CC}">
              <c16:uniqueId val="{0000000D-73E3-4ECF-9548-465E03DDACCA}"/>
            </c:ext>
          </c:extLst>
        </c:ser>
        <c:dLbls>
          <c:showLegendKey val="0"/>
          <c:showVal val="0"/>
          <c:showCatName val="0"/>
          <c:showSerName val="0"/>
          <c:showPercent val="0"/>
          <c:showBubbleSize val="0"/>
        </c:dLbls>
        <c:gapWidth val="80"/>
        <c:overlap val="100"/>
        <c:axId val="321610527"/>
        <c:axId val="1"/>
      </c:barChart>
      <c:catAx>
        <c:axId val="321610527"/>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70"/>
          <c:min val="0"/>
        </c:scaling>
        <c:delete val="0"/>
        <c:axPos val="l"/>
        <c:majorGridlines>
          <c:spPr>
            <a:ln w="3175" cmpd="sng" algn="ctr">
              <a:solidFill>
                <a:srgbClr val="DEDEDE"/>
              </a:solidFill>
              <a:prstDash val="solid"/>
            </a:ln>
          </c:spPr>
        </c:majorGridlines>
        <c:numFmt formatCode="General" sourceLinked="1"/>
        <c:majorTickMark val="out"/>
        <c:minorTickMark val="none"/>
        <c:tickLblPos val="none"/>
        <c:spPr>
          <a:ln w="9525" cmpd="sng" algn="ctr">
            <a:solidFill>
              <a:srgbClr val="EBEBEC"/>
            </a:solidFill>
            <a:prstDash val="solid"/>
          </a:ln>
        </c:spPr>
        <c:txPr>
          <a:bodyPr wrap="none"/>
          <a:lstStyle/>
          <a:p>
            <a:pPr>
              <a:defRPr sz="900" kern="1200">
                <a:latin typeface="Century Schoolbook (Body)"/>
                <a:ea typeface="+mn-ea"/>
                <a:cs typeface="+mn-cs"/>
              </a:defRPr>
            </a:pPr>
            <a:endParaRPr lang="en-US"/>
          </a:p>
        </c:txPr>
        <c:crossAx val="321610527"/>
        <c:crosses val="min"/>
        <c:crossBetween val="between"/>
        <c:majorUnit val="1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57930642410457E-2"/>
          <c:y val="4.6453006841915737E-2"/>
          <c:w val="0.95665150653780562"/>
          <c:h val="0.90709398631616855"/>
        </c:manualLayout>
      </c:layout>
      <c:barChart>
        <c:barDir val="col"/>
        <c:grouping val="clustered"/>
        <c:varyColors val="0"/>
        <c:ser>
          <c:idx val="0"/>
          <c:order val="0"/>
          <c:spPr>
            <a:solidFill>
              <a:srgbClr val="7030A0"/>
            </a:solidFill>
            <a:ln w="9525" cmpd="sng" algn="ctr">
              <a:solidFill>
                <a:srgbClr val="FFFFFF"/>
              </a:solidFill>
              <a:prstDash val="solid"/>
            </a:ln>
          </c:spPr>
          <c:invertIfNegative val="0"/>
          <c:dLbls>
            <c:dLbl>
              <c:idx val="0"/>
              <c:layout>
                <c:manualLayout>
                  <c:x val="0"/>
                  <c:y val="-5.9056535830032411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96-41B5-957A-9B61AF52A835}"/>
                </c:ext>
              </c:extLst>
            </c:dLbl>
            <c:dLbl>
              <c:idx val="1"/>
              <c:layout>
                <c:manualLayout>
                  <c:x val="0"/>
                  <c:y val="-7.490097227223623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96-41B5-957A-9B61AF52A835}"/>
                </c:ext>
              </c:extLst>
            </c:dLbl>
            <c:dLbl>
              <c:idx val="4"/>
              <c:layout>
                <c:manualLayout>
                  <c:x val="0"/>
                  <c:y val="-0.1227943824270795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96-41B5-957A-9B61AF52A835}"/>
                </c:ext>
              </c:extLst>
            </c:dLbl>
            <c:dLbl>
              <c:idx val="5"/>
              <c:layout>
                <c:manualLayout>
                  <c:x val="0"/>
                  <c:y val="-0.14872164205977673"/>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96-41B5-957A-9B61AF52A835}"/>
                </c:ext>
              </c:extLst>
            </c:dLbl>
            <c:dLbl>
              <c:idx val="6"/>
              <c:layout>
                <c:manualLayout>
                  <c:x val="-4.1216600341102902E-3"/>
                  <c:y val="-0.18329132157003961"/>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96-41B5-957A-9B61AF52A835}"/>
                </c:ext>
              </c:extLst>
            </c:dLbl>
            <c:dLbl>
              <c:idx val="7"/>
              <c:layout>
                <c:manualLayout>
                  <c:x val="-4.1216600341102902E-3"/>
                  <c:y val="-0.21209938782859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C96-41B5-957A-9B61AF52A835}"/>
                </c:ext>
              </c:extLst>
            </c:dLbl>
            <c:dLbl>
              <c:idx val="9"/>
              <c:layout>
                <c:manualLayout>
                  <c:x val="0"/>
                  <c:y val="-0.24414836154123154"/>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96-41B5-957A-9B61AF52A835}"/>
                </c:ext>
              </c:extLst>
            </c:dLbl>
            <c:dLbl>
              <c:idx val="10"/>
              <c:layout>
                <c:manualLayout>
                  <c:x val="0"/>
                  <c:y val="-0.11091105509542672"/>
                </c:manualLayout>
              </c:layout>
              <c:numFmt formatCode="#,##0;&quot;-&quot;#,##0" sourceLinked="0"/>
              <c:spPr>
                <a:noFill/>
                <a:ln>
                  <a:noFill/>
                </a:ln>
              </c:spPr>
              <c:txPr>
                <a:bodyPr wrap="none"/>
                <a:lstStyle/>
                <a:p>
                  <a:pPr>
                    <a:defRPr sz="900" kern="1200">
                      <a:solidFill>
                        <a:srgbClr val="ACAEB1"/>
                      </a:solidFill>
                      <a:latin typeface="Century Schoolbook (Body)"/>
                      <a:ea typeface="Century Schoolbook (Body)"/>
                      <a:cs typeface="Century Schoolbook (Body)"/>
                      <a:sym typeface="Century Schoolbook (Bod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C96-41B5-957A-9B61AF52A835}"/>
                </c:ext>
              </c:extLst>
            </c:dLbl>
            <c:dLbl>
              <c:idx val="12"/>
              <c:layout>
                <c:manualLayout>
                  <c:x val="-4.1216600341102902E-3"/>
                  <c:y val="-0.2535109830752611"/>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C96-41B5-957A-9B61AF52A8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25</c:v>
                </c:pt>
                <c:pt idx="1">
                  <c:v>35.520007</c:v>
                </c:pt>
                <c:pt idx="2">
                  <c:v>43</c:v>
                </c:pt>
                <c:pt idx="3">
                  <c:v>47</c:v>
                </c:pt>
                <c:pt idx="4">
                  <c:v>67</c:v>
                </c:pt>
                <c:pt idx="5">
                  <c:v>84.266266326530626</c:v>
                </c:pt>
                <c:pt idx="6">
                  <c:v>107.16029583920358</c:v>
                </c:pt>
                <c:pt idx="7">
                  <c:v>126.365229</c:v>
                </c:pt>
                <c:pt idx="8">
                  <c:v>140.19860789748401</c:v>
                </c:pt>
                <c:pt idx="9">
                  <c:v>147.44680199999999</c:v>
                </c:pt>
                <c:pt idx="10">
                  <c:v>59.324602996125002</c:v>
                </c:pt>
                <c:pt idx="11">
                  <c:v>144.05948699999999</c:v>
                </c:pt>
                <c:pt idx="12">
                  <c:v>153.78528600000001</c:v>
                </c:pt>
                <c:pt idx="13">
                  <c:v>188.803776</c:v>
                </c:pt>
                <c:pt idx="14">
                  <c:v>194.942571366257</c:v>
                </c:pt>
              </c:numCache>
            </c:numRef>
          </c:val>
          <c:extLst>
            <c:ext xmlns:c16="http://schemas.microsoft.com/office/drawing/2014/chart" uri="{C3380CC4-5D6E-409C-BE32-E72D297353CC}">
              <c16:uniqueId val="{00000009-DC96-41B5-957A-9B61AF52A835}"/>
            </c:ext>
          </c:extLst>
        </c:ser>
        <c:ser>
          <c:idx val="1"/>
          <c:order val="1"/>
          <c:spPr>
            <a:solidFill>
              <a:schemeClr val="accent2"/>
            </a:solidFill>
            <a:ln w="9525" cmpd="sng" algn="ctr">
              <a:solidFill>
                <a:srgbClr val="FFFFFF"/>
              </a:solidFill>
              <a:prstDash val="solid"/>
            </a:ln>
          </c:spPr>
          <c:invertIfNegative val="0"/>
          <c:dLbls>
            <c:dLbl>
              <c:idx val="0"/>
              <c:layout>
                <c:manualLayout>
                  <c:x val="0"/>
                  <c:y val="-6.6618653222902419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C96-41B5-957A-9B61AF52A835}"/>
                </c:ext>
              </c:extLst>
            </c:dLbl>
            <c:dLbl>
              <c:idx val="2"/>
              <c:layout>
                <c:manualLayout>
                  <c:x val="0"/>
                  <c:y val="-0.10010803024846956"/>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C96-41B5-957A-9B61AF52A835}"/>
                </c:ext>
              </c:extLst>
            </c:dLbl>
            <c:dLbl>
              <c:idx val="3"/>
              <c:layout>
                <c:manualLayout>
                  <c:x val="0"/>
                  <c:y val="-0.12423478574000721"/>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C96-41B5-957A-9B61AF52A835}"/>
                </c:ext>
              </c:extLst>
            </c:dLbl>
            <c:dLbl>
              <c:idx val="4"/>
              <c:layout>
                <c:manualLayout>
                  <c:x val="0"/>
                  <c:y val="-0.1346777097587324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C96-41B5-957A-9B61AF52A835}"/>
                </c:ext>
              </c:extLst>
            </c:dLbl>
            <c:dLbl>
              <c:idx val="5"/>
              <c:layout>
                <c:manualLayout>
                  <c:x val="0"/>
                  <c:y val="-0.16960749009722723"/>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C96-41B5-957A-9B61AF52A835}"/>
                </c:ext>
              </c:extLst>
            </c:dLbl>
            <c:dLbl>
              <c:idx val="6"/>
              <c:layout>
                <c:manualLayout>
                  <c:x val="-3.5531552018192155E-3"/>
                  <c:y val="-0.2142599927979834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C96-41B5-957A-9B61AF52A835}"/>
                </c:ext>
              </c:extLst>
            </c:dLbl>
            <c:dLbl>
              <c:idx val="7"/>
              <c:layout>
                <c:manualLayout>
                  <c:x val="-4.1216600341102902E-3"/>
                  <c:y val="-0.2290241267554915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C96-41B5-957A-9B61AF52A835}"/>
                </c:ext>
              </c:extLst>
            </c:dLbl>
            <c:dLbl>
              <c:idx val="8"/>
              <c:layout>
                <c:manualLayout>
                  <c:x val="-4.1216600341102902E-3"/>
                  <c:y val="-0.261793302124594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C96-41B5-957A-9B61AF52A835}"/>
                </c:ext>
              </c:extLst>
            </c:dLbl>
            <c:dLbl>
              <c:idx val="9"/>
              <c:layout>
                <c:manualLayout>
                  <c:x val="0"/>
                  <c:y val="-7.5621173928700033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C96-41B5-957A-9B61AF52A835}"/>
                </c:ext>
              </c:extLst>
            </c:dLbl>
            <c:dLbl>
              <c:idx val="10"/>
              <c:layout>
                <c:manualLayout>
                  <c:x val="-4.1216600341102902E-3"/>
                  <c:y val="-0.20957868203096866"/>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C96-41B5-957A-9B61AF52A835}"/>
                </c:ext>
              </c:extLst>
            </c:dLbl>
            <c:dLbl>
              <c:idx val="11"/>
              <c:layout>
                <c:manualLayout>
                  <c:x val="-4.1216600341102902E-3"/>
                  <c:y val="-0.2996038890889449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C96-41B5-957A-9B61AF52A835}"/>
                </c:ext>
              </c:extLst>
            </c:dLbl>
            <c:dLbl>
              <c:idx val="13"/>
              <c:layout>
                <c:manualLayout>
                  <c:x val="-4.1216600341102902E-3"/>
                  <c:y val="-0.37630536550234067"/>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C96-41B5-957A-9B61AF52A8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30</c:v>
                </c:pt>
                <c:pt idx="1">
                  <c:v>38.125905000000003</c:v>
                </c:pt>
                <c:pt idx="2">
                  <c:v>52</c:v>
                </c:pt>
                <c:pt idx="3">
                  <c:v>68</c:v>
                </c:pt>
                <c:pt idx="4">
                  <c:v>75</c:v>
                </c:pt>
                <c:pt idx="5">
                  <c:v>98.193698979591829</c:v>
                </c:pt>
                <c:pt idx="6">
                  <c:v>127.65918602097727</c:v>
                </c:pt>
                <c:pt idx="7">
                  <c:v>135.76571609820198</c:v>
                </c:pt>
                <c:pt idx="8">
                  <c:v>159.05213900000001</c:v>
                </c:pt>
                <c:pt idx="9">
                  <c:v>35.818875744179103</c:v>
                </c:pt>
                <c:pt idx="10">
                  <c:v>124.42590846196001</c:v>
                </c:pt>
                <c:pt idx="11">
                  <c:v>184</c:v>
                </c:pt>
                <c:pt idx="12">
                  <c:v>194.7</c:v>
                </c:pt>
                <c:pt idx="13">
                  <c:v>235</c:v>
                </c:pt>
                <c:pt idx="14">
                  <c:v>239.58661740257801</c:v>
                </c:pt>
              </c:numCache>
            </c:numRef>
          </c:val>
          <c:extLst>
            <c:ext xmlns:c16="http://schemas.microsoft.com/office/drawing/2014/chart" uri="{C3380CC4-5D6E-409C-BE32-E72D297353CC}">
              <c16:uniqueId val="{00000016-DC96-41B5-957A-9B61AF52A835}"/>
            </c:ext>
          </c:extLst>
        </c:ser>
        <c:ser>
          <c:idx val="2"/>
          <c:order val="2"/>
          <c:spPr>
            <a:solidFill>
              <a:schemeClr val="accent3"/>
            </a:solidFill>
            <a:ln w="9525" cmpd="sng" algn="ctr">
              <a:solidFill>
                <a:srgbClr val="FFFFFF"/>
              </a:solidFill>
              <a:prstDash val="solid"/>
            </a:ln>
          </c:spPr>
          <c:invertIfNegative val="0"/>
          <c:dLbls>
            <c:dLbl>
              <c:idx val="0"/>
              <c:layout>
                <c:manualLayout>
                  <c:x val="0"/>
                  <c:y val="-6.8059056535830026E-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C96-41B5-957A-9B61AF52A835}"/>
                </c:ext>
              </c:extLst>
            </c:dLbl>
            <c:dLbl>
              <c:idx val="1"/>
              <c:layout>
                <c:manualLayout>
                  <c:x val="0"/>
                  <c:y val="-0.10010803024846956"/>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C96-41B5-957A-9B61AF52A835}"/>
                </c:ext>
              </c:extLst>
            </c:dLbl>
            <c:dLbl>
              <c:idx val="2"/>
              <c:layout>
                <c:manualLayout>
                  <c:x val="0"/>
                  <c:y val="-0.10262873604609291"/>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C96-41B5-957A-9B61AF52A835}"/>
                </c:ext>
              </c:extLst>
            </c:dLbl>
            <c:dLbl>
              <c:idx val="3"/>
              <c:layout>
                <c:manualLayout>
                  <c:x val="0"/>
                  <c:y val="-0.131796903132877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C96-41B5-957A-9B61AF52A835}"/>
                </c:ext>
              </c:extLst>
            </c:dLbl>
            <c:dLbl>
              <c:idx val="4"/>
              <c:layout>
                <c:manualLayout>
                  <c:x val="0"/>
                  <c:y val="-0.1469211379186172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C96-41B5-957A-9B61AF52A835}"/>
                </c:ext>
              </c:extLst>
            </c:dLbl>
            <c:dLbl>
              <c:idx val="5"/>
              <c:layout>
                <c:manualLayout>
                  <c:x val="-4.1216600341102902E-3"/>
                  <c:y val="-0.1894130356499819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C96-41B5-957A-9B61AF52A835}"/>
                </c:ext>
              </c:extLst>
            </c:dLbl>
            <c:dLbl>
              <c:idx val="7"/>
              <c:layout>
                <c:manualLayout>
                  <c:x val="-4.1216600341102902E-3"/>
                  <c:y val="-0.2491897731364782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C96-41B5-957A-9B61AF52A835}"/>
                </c:ext>
              </c:extLst>
            </c:dLbl>
            <c:dLbl>
              <c:idx val="8"/>
              <c:layout>
                <c:manualLayout>
                  <c:x val="-4.1216600341102902E-3"/>
                  <c:y val="-0.28808066258552395"/>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C96-41B5-957A-9B61AF52A835}"/>
                </c:ext>
              </c:extLst>
            </c:dLbl>
            <c:dLbl>
              <c:idx val="9"/>
              <c:layout>
                <c:manualLayout>
                  <c:x val="-4.1216600341102902E-3"/>
                  <c:y val="-0.17608930500540151"/>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C96-41B5-957A-9B61AF52A835}"/>
                </c:ext>
              </c:extLst>
            </c:dLbl>
            <c:dLbl>
              <c:idx val="10"/>
              <c:layout>
                <c:manualLayout>
                  <c:x val="-4.1216600341102902E-3"/>
                  <c:y val="-0.28231904933381347"/>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C96-41B5-957A-9B61AF52A835}"/>
                </c:ext>
              </c:extLst>
            </c:dLbl>
            <c:dLbl>
              <c:idx val="12"/>
              <c:layout>
                <c:manualLayout>
                  <c:x val="-4.1216600341102902E-3"/>
                  <c:y val="-0.3629816348577601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C96-41B5-957A-9B61AF52A835}"/>
                </c:ext>
              </c:extLst>
            </c:dLbl>
            <c:dLbl>
              <c:idx val="14"/>
              <c:layout>
                <c:manualLayout>
                  <c:x val="-4.1216600341102902E-3"/>
                  <c:y val="-0.4015124234785740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C96-41B5-957A-9B61AF52A8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31</c:v>
                </c:pt>
                <c:pt idx="1">
                  <c:v>52</c:v>
                </c:pt>
                <c:pt idx="2">
                  <c:v>54</c:v>
                </c:pt>
                <c:pt idx="3">
                  <c:v>73</c:v>
                </c:pt>
                <c:pt idx="4">
                  <c:v>83</c:v>
                </c:pt>
                <c:pt idx="5">
                  <c:v>105.43053163265306</c:v>
                </c:pt>
                <c:pt idx="6">
                  <c:v>126.69584875834575</c:v>
                </c:pt>
                <c:pt idx="7">
                  <c:v>150.717834292155</c:v>
                </c:pt>
                <c:pt idx="8">
                  <c:v>176.50307777670699</c:v>
                </c:pt>
                <c:pt idx="9">
                  <c:v>102.28009881454099</c:v>
                </c:pt>
                <c:pt idx="10">
                  <c:v>172.52250520545499</c:v>
                </c:pt>
                <c:pt idx="11">
                  <c:v>195.530338</c:v>
                </c:pt>
                <c:pt idx="12">
                  <c:v>226.02914438075501</c:v>
                </c:pt>
                <c:pt idx="13">
                  <c:v>244.93973746767901</c:v>
                </c:pt>
                <c:pt idx="14">
                  <c:v>251.482327135811</c:v>
                </c:pt>
              </c:numCache>
            </c:numRef>
          </c:val>
          <c:extLst>
            <c:ext xmlns:c16="http://schemas.microsoft.com/office/drawing/2014/chart" uri="{C3380CC4-5D6E-409C-BE32-E72D297353CC}">
              <c16:uniqueId val="{00000023-DC96-41B5-957A-9B61AF52A835}"/>
            </c:ext>
          </c:extLst>
        </c:ser>
        <c:ser>
          <c:idx val="3"/>
          <c:order val="3"/>
          <c:spPr>
            <a:solidFill>
              <a:schemeClr val="accent4"/>
            </a:solidFill>
            <a:ln w="9525" cmpd="sng" algn="ctr">
              <a:solidFill>
                <a:srgbClr val="FFFFFF"/>
              </a:solidFill>
              <a:prstDash val="solid"/>
            </a:ln>
          </c:spPr>
          <c:invertIfNegative val="0"/>
          <c:dLbls>
            <c:dLbl>
              <c:idx val="1"/>
              <c:layout>
                <c:manualLayout>
                  <c:x val="0"/>
                  <c:y val="-0.10586964350018005"/>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C96-41B5-957A-9B61AF52A835}"/>
                </c:ext>
              </c:extLst>
            </c:dLbl>
            <c:dLbl>
              <c:idx val="2"/>
              <c:layout>
                <c:manualLayout>
                  <c:x val="0"/>
                  <c:y val="-0.1195534749729924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C96-41B5-957A-9B61AF52A835}"/>
                </c:ext>
              </c:extLst>
            </c:dLbl>
            <c:dLbl>
              <c:idx val="3"/>
              <c:layout>
                <c:manualLayout>
                  <c:x val="0"/>
                  <c:y val="-0.1469211379186172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C96-41B5-957A-9B61AF52A835}"/>
                </c:ext>
              </c:extLst>
            </c:dLbl>
            <c:dLbl>
              <c:idx val="4"/>
              <c:layout>
                <c:manualLayout>
                  <c:x val="0"/>
                  <c:y val="-0.1904933381346777"/>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C96-41B5-957A-9B61AF52A835}"/>
                </c:ext>
              </c:extLst>
            </c:dLbl>
            <c:dLbl>
              <c:idx val="6"/>
              <c:layout>
                <c:manualLayout>
                  <c:x val="0"/>
                  <c:y val="-0.2693554195174648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C96-41B5-957A-9B61AF52A835}"/>
                </c:ext>
              </c:extLst>
            </c:dLbl>
            <c:dLbl>
              <c:idx val="8"/>
              <c:layout>
                <c:manualLayout>
                  <c:x val="0"/>
                  <c:y val="-0.35145840835433922"/>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C96-41B5-957A-9B61AF52A835}"/>
                </c:ext>
              </c:extLst>
            </c:dLbl>
            <c:dLbl>
              <c:idx val="9"/>
              <c:layout>
                <c:manualLayout>
                  <c:x val="0"/>
                  <c:y val="-0.21678069859560678"/>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C96-41B5-957A-9B61AF52A835}"/>
                </c:ext>
              </c:extLst>
            </c:dLbl>
            <c:dLbl>
              <c:idx val="10"/>
              <c:layout>
                <c:manualLayout>
                  <c:x val="0"/>
                  <c:y val="-0.35469931580842634"/>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C96-41B5-957A-9B61AF52A835}"/>
                </c:ext>
              </c:extLst>
            </c:dLbl>
            <c:dLbl>
              <c:idx val="11"/>
              <c:layout>
                <c:manualLayout>
                  <c:x val="0"/>
                  <c:y val="-0.36082102988836873"/>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C96-41B5-957A-9B61AF52A835}"/>
                </c:ext>
              </c:extLst>
            </c:dLbl>
            <c:dLbl>
              <c:idx val="12"/>
              <c:layout>
                <c:manualLayout>
                  <c:x val="0"/>
                  <c:y val="-0.42491897731364781"/>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C96-41B5-957A-9B61AF52A835}"/>
                </c:ext>
              </c:extLst>
            </c:dLbl>
            <c:dLbl>
              <c:idx val="13"/>
              <c:layout>
                <c:manualLayout>
                  <c:x val="0"/>
                  <c:y val="-0.42239827151602449"/>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C96-41B5-957A-9B61AF52A835}"/>
                </c:ext>
              </c:extLst>
            </c:dLbl>
            <c:dLbl>
              <c:idx val="14"/>
              <c:layout>
                <c:manualLayout>
                  <c:x val="0"/>
                  <c:y val="-0.44148361541231546"/>
                </c:manualLayout>
              </c:layout>
              <c:numFmt formatCode="#,##0;&quot;-&quot;#,##0" sourceLinked="0"/>
              <c:spPr>
                <a:noFill/>
                <a:ln>
                  <a:noFill/>
                </a:ln>
              </c:spPr>
              <c:txPr>
                <a:bodyPr wrap="none"/>
                <a:lstStyle/>
                <a:p>
                  <a:pPr>
                    <a:defRPr sz="900" kern="1200">
                      <a:solidFill>
                        <a:srgbClr val="ACAEB1"/>
                      </a:solidFill>
                      <a:latin typeface="Century Schoolbook (Body)"/>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DC96-41B5-957A-9B61AF52A8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42</c:v>
                </c:pt>
                <c:pt idx="1">
                  <c:v>56</c:v>
                </c:pt>
                <c:pt idx="2">
                  <c:v>65</c:v>
                </c:pt>
                <c:pt idx="3">
                  <c:v>83</c:v>
                </c:pt>
                <c:pt idx="4">
                  <c:v>112</c:v>
                </c:pt>
                <c:pt idx="5">
                  <c:v>139.78244203061226</c:v>
                </c:pt>
                <c:pt idx="6">
                  <c:v>164.11736095202679</c:v>
                </c:pt>
                <c:pt idx="7">
                  <c:v>190.10241267347834</c:v>
                </c:pt>
                <c:pt idx="8">
                  <c:v>218.28895800000001</c:v>
                </c:pt>
                <c:pt idx="9">
                  <c:v>129.371219944405</c:v>
                </c:pt>
                <c:pt idx="10">
                  <c:v>220.552436</c:v>
                </c:pt>
                <c:pt idx="11">
                  <c:v>224.472916</c:v>
                </c:pt>
                <c:pt idx="12">
                  <c:v>267</c:v>
                </c:pt>
                <c:pt idx="13">
                  <c:v>265.349588218539</c:v>
                </c:pt>
                <c:pt idx="14">
                  <c:v>277.97696271208798</c:v>
                </c:pt>
              </c:numCache>
            </c:numRef>
          </c:val>
          <c:extLst>
            <c:ext xmlns:c16="http://schemas.microsoft.com/office/drawing/2014/chart" uri="{C3380CC4-5D6E-409C-BE32-E72D297353CC}">
              <c16:uniqueId val="{00000030-DC96-41B5-957A-9B61AF52A835}"/>
            </c:ext>
          </c:extLst>
        </c:ser>
        <c:dLbls>
          <c:showLegendKey val="0"/>
          <c:showVal val="0"/>
          <c:showCatName val="0"/>
          <c:showSerName val="0"/>
          <c:showPercent val="0"/>
          <c:showBubbleSize val="0"/>
        </c:dLbls>
        <c:gapWidth val="80"/>
        <c:axId val="320188783"/>
        <c:axId val="1"/>
      </c:barChart>
      <c:catAx>
        <c:axId val="320188783"/>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300"/>
          <c:min val="0"/>
        </c:scaling>
        <c:delete val="0"/>
        <c:axPos val="l"/>
        <c:majorGridlines>
          <c:spPr>
            <a:ln w="3175" cmpd="sng" algn="ctr">
              <a:solidFill>
                <a:srgbClr val="DEDEDE"/>
              </a:solidFill>
              <a:prstDash val="solid"/>
            </a:ln>
          </c:spPr>
        </c:majorGridlines>
        <c:numFmt formatCode="#,##0;&quot;-&quot;#,##0" sourceLinked="0"/>
        <c:majorTickMark val="out"/>
        <c:minorTickMark val="none"/>
        <c:tickLblPos val="nextTo"/>
        <c:spPr>
          <a:ln w="9525" cmpd="sng" algn="ctr">
            <a:solidFill>
              <a:srgbClr val="EBEBEC"/>
            </a:solidFill>
            <a:prstDash val="solid"/>
          </a:ln>
        </c:spPr>
        <c:txPr>
          <a:bodyPr wrap="none"/>
          <a:lstStyle/>
          <a:p>
            <a:pPr>
              <a:defRPr sz="900" kern="1200">
                <a:solidFill>
                  <a:srgbClr val="ACAEB1"/>
                </a:solidFill>
                <a:latin typeface="Century Schoolbook (Body)"/>
                <a:ea typeface="+mn-ea"/>
                <a:cs typeface="+mn-cs"/>
              </a:defRPr>
            </a:pPr>
            <a:endParaRPr lang="en-US"/>
          </a:p>
        </c:txPr>
        <c:crossAx val="320188783"/>
        <c:crosses val="min"/>
        <c:crossBetween val="between"/>
        <c:majorUnit val="5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079005120702264E-3"/>
          <c:y val="2.1630615640599003E-2"/>
          <c:w val="0.98478419897585956"/>
          <c:h val="0.95673876871880204"/>
        </c:manualLayout>
      </c:layout>
      <c:barChart>
        <c:barDir val="col"/>
        <c:grouping val="clustered"/>
        <c:varyColors val="0"/>
        <c:ser>
          <c:idx val="0"/>
          <c:order val="0"/>
          <c:spPr>
            <a:solidFill>
              <a:schemeClr val="accent1"/>
            </a:solidFill>
            <a:ln w="9525" cmpd="sng" algn="ctr">
              <a:solidFill>
                <a:srgbClr val="FFFFFF"/>
              </a:solidFill>
              <a:prstDash val="solid"/>
            </a:ln>
          </c:spPr>
          <c:invertIfNegative val="0"/>
          <c:val>
            <c:numRef>
              <c:f>Sheet1!$A$1:$AS$1</c:f>
              <c:numCache>
                <c:formatCode>General</c:formatCode>
                <c:ptCount val="45"/>
                <c:pt idx="0">
                  <c:v>23320772</c:v>
                </c:pt>
                <c:pt idx="1">
                  <c:v>23992651</c:v>
                </c:pt>
                <c:pt idx="2">
                  <c:v>32011330</c:v>
                </c:pt>
                <c:pt idx="3">
                  <c:v>43099160</c:v>
                </c:pt>
                <c:pt idx="4">
                  <c:v>31370785.714285716</c:v>
                </c:pt>
                <c:pt idx="5">
                  <c:v>38588489.795918368</c:v>
                </c:pt>
                <c:pt idx="6">
                  <c:v>48427514.265306123</c:v>
                </c:pt>
                <c:pt idx="7">
                  <c:v>58467989.836734697</c:v>
                </c:pt>
                <c:pt idx="8">
                  <c:v>46867800.771528579</c:v>
                </c:pt>
                <c:pt idx="9">
                  <c:v>59066516.677500002</c:v>
                </c:pt>
                <c:pt idx="10">
                  <c:v>57080846.04172951</c:v>
                </c:pt>
                <c:pt idx="11">
                  <c:v>72573405.243732765</c:v>
                </c:pt>
                <c:pt idx="12">
                  <c:v>58692637</c:v>
                </c:pt>
                <c:pt idx="13">
                  <c:v>61339597.782630913</c:v>
                </c:pt>
                <c:pt idx="14">
                  <c:v>71848143.80022572</c:v>
                </c:pt>
                <c:pt idx="15">
                  <c:v>93436662.108199328</c:v>
                </c:pt>
                <c:pt idx="16">
                  <c:v>69189223.301531538</c:v>
                </c:pt>
                <c:pt idx="17">
                  <c:v>78416244.768510252</c:v>
                </c:pt>
                <c:pt idx="18">
                  <c:v>88485149.57045503</c:v>
                </c:pt>
                <c:pt idx="19">
                  <c:v>103096514.16118868</c:v>
                </c:pt>
                <c:pt idx="20">
                  <c:v>72723336</c:v>
                </c:pt>
                <c:pt idx="21">
                  <c:v>20309627.187540993</c:v>
                </c:pt>
                <c:pt idx="22">
                  <c:v>65765293.758019701</c:v>
                </c:pt>
                <c:pt idx="23">
                  <c:v>86855599.267419592</c:v>
                </c:pt>
                <c:pt idx="24">
                  <c:v>38655872.229143307</c:v>
                </c:pt>
                <c:pt idx="25">
                  <c:v>83312552.307094395</c:v>
                </c:pt>
                <c:pt idx="26">
                  <c:v>108385001.87519416</c:v>
                </c:pt>
                <c:pt idx="27">
                  <c:v>130305670.49913393</c:v>
                </c:pt>
                <c:pt idx="28">
                  <c:v>89686677.522248298</c:v>
                </c:pt>
                <c:pt idx="29">
                  <c:v>107765163.5332118</c:v>
                </c:pt>
                <c:pt idx="30">
                  <c:v>113513509.35784306</c:v>
                </c:pt>
                <c:pt idx="31">
                  <c:v>124820802.99748568</c:v>
                </c:pt>
                <c:pt idx="32">
                  <c:v>93069162.693932176</c:v>
                </c:pt>
                <c:pt idx="33">
                  <c:v>116771359.68387035</c:v>
                </c:pt>
                <c:pt idx="34">
                  <c:v>132230782.5923053</c:v>
                </c:pt>
                <c:pt idx="35">
                  <c:v>150681958</c:v>
                </c:pt>
                <c:pt idx="36">
                  <c:v>114405810</c:v>
                </c:pt>
                <c:pt idx="37">
                  <c:v>134615894</c:v>
                </c:pt>
                <c:pt idx="38">
                  <c:v>138814870.44802773</c:v>
                </c:pt>
                <c:pt idx="39">
                  <c:v>143464765.67763892</c:v>
                </c:pt>
                <c:pt idx="40">
                  <c:v>111753247.85002244</c:v>
                </c:pt>
                <c:pt idx="41">
                  <c:v>139598952.31586957</c:v>
                </c:pt>
                <c:pt idx="42">
                  <c:v>145803823</c:v>
                </c:pt>
                <c:pt idx="43">
                  <c:v>149712091.85624024</c:v>
                </c:pt>
                <c:pt idx="44">
                  <c:v>130876269.24084832</c:v>
                </c:pt>
              </c:numCache>
            </c:numRef>
          </c:val>
          <c:extLst>
            <c:ext xmlns:c16="http://schemas.microsoft.com/office/drawing/2014/chart" uri="{C3380CC4-5D6E-409C-BE32-E72D297353CC}">
              <c16:uniqueId val="{00000000-8AEE-441D-95D1-3C322EB08311}"/>
            </c:ext>
          </c:extLst>
        </c:ser>
        <c:ser>
          <c:idx val="1"/>
          <c:order val="1"/>
          <c:spPr>
            <a:solidFill>
              <a:schemeClr val="accent2"/>
            </a:solidFill>
            <a:ln w="9525" cmpd="sng" algn="ctr">
              <a:solidFill>
                <a:srgbClr val="FFFFFF"/>
              </a:solidFill>
              <a:prstDash val="solid"/>
            </a:ln>
          </c:spPr>
          <c:invertIfNegative val="0"/>
          <c:val>
            <c:numRef>
              <c:f>Sheet1!$A$2:$AS$2</c:f>
              <c:numCache>
                <c:formatCode>General</c:formatCode>
                <c:ptCount val="45"/>
                <c:pt idx="0">
                  <c:v>24090973</c:v>
                </c:pt>
                <c:pt idx="1">
                  <c:v>27134430</c:v>
                </c:pt>
                <c:pt idx="2">
                  <c:v>28643338.300000001</c:v>
                </c:pt>
                <c:pt idx="3">
                  <c:v>35069375.100000001</c:v>
                </c:pt>
                <c:pt idx="4">
                  <c:v>27157993.979591839</c:v>
                </c:pt>
                <c:pt idx="5">
                  <c:v>31144607.448979594</c:v>
                </c:pt>
                <c:pt idx="6">
                  <c:v>30396631.938775513</c:v>
                </c:pt>
                <c:pt idx="7">
                  <c:v>38147362.201020405</c:v>
                </c:pt>
                <c:pt idx="8">
                  <c:v>28518257.681025002</c:v>
                </c:pt>
                <c:pt idx="9">
                  <c:v>33938327.334900253</c:v>
                </c:pt>
                <c:pt idx="10">
                  <c:v>33337726.976764359</c:v>
                </c:pt>
                <c:pt idx="11">
                  <c:v>41565518.177705526</c:v>
                </c:pt>
                <c:pt idx="12">
                  <c:v>35181687.369999997</c:v>
                </c:pt>
                <c:pt idx="13">
                  <c:v>39063656.858323865</c:v>
                </c:pt>
                <c:pt idx="14">
                  <c:v>41318052.306014374</c:v>
                </c:pt>
                <c:pt idx="15">
                  <c:v>48740504.262792692</c:v>
                </c:pt>
                <c:pt idx="16">
                  <c:v>39193368.846391991</c:v>
                </c:pt>
                <c:pt idx="17">
                  <c:v>44799393.199472748</c:v>
                </c:pt>
                <c:pt idx="18">
                  <c:v>47373417.495038345</c:v>
                </c:pt>
                <c:pt idx="19">
                  <c:v>60610924.623342872</c:v>
                </c:pt>
                <c:pt idx="20">
                  <c:v>41597343.5</c:v>
                </c:pt>
                <c:pt idx="21">
                  <c:v>3195426.8146938146</c:v>
                </c:pt>
                <c:pt idx="22">
                  <c:v>10086611.258997062</c:v>
                </c:pt>
                <c:pt idx="23">
                  <c:v>10440611.255969688</c:v>
                </c:pt>
                <c:pt idx="24">
                  <c:v>4521659.029297282</c:v>
                </c:pt>
                <c:pt idx="25">
                  <c:v>11208220.622554427</c:v>
                </c:pt>
                <c:pt idx="26">
                  <c:v>22726347.827632993</c:v>
                </c:pt>
                <c:pt idx="27">
                  <c:v>42444434.100206412</c:v>
                </c:pt>
                <c:pt idx="28">
                  <c:v>23314665.199727286</c:v>
                </c:pt>
                <c:pt idx="29">
                  <c:v>37544450.313429087</c:v>
                </c:pt>
                <c:pt idx="30">
                  <c:v>38433181.954567783</c:v>
                </c:pt>
                <c:pt idx="31">
                  <c:v>49939790.974661045</c:v>
                </c:pt>
                <c:pt idx="32">
                  <c:v>29516140.794877376</c:v>
                </c:pt>
                <c:pt idx="33">
                  <c:v>38855529.452181742</c:v>
                </c:pt>
                <c:pt idx="34">
                  <c:v>48129763.588512912</c:v>
                </c:pt>
                <c:pt idx="35">
                  <c:v>58947876</c:v>
                </c:pt>
                <c:pt idx="36">
                  <c:v>39305103.799999997</c:v>
                </c:pt>
                <c:pt idx="37">
                  <c:v>54880148</c:v>
                </c:pt>
                <c:pt idx="38">
                  <c:v>58566644.387274884</c:v>
                </c:pt>
                <c:pt idx="39">
                  <c:v>66267282.634793818</c:v>
                </c:pt>
                <c:pt idx="40">
                  <c:v>46658222.091830388</c:v>
                </c:pt>
                <c:pt idx="41">
                  <c:v>55163575.631925017</c:v>
                </c:pt>
                <c:pt idx="42">
                  <c:v>56611356.200000003</c:v>
                </c:pt>
                <c:pt idx="43">
                  <c:v>70511706.261534542</c:v>
                </c:pt>
                <c:pt idx="44">
                  <c:v>55057640.79449337</c:v>
                </c:pt>
              </c:numCache>
            </c:numRef>
          </c:val>
          <c:extLst>
            <c:ext xmlns:c16="http://schemas.microsoft.com/office/drawing/2014/chart" uri="{C3380CC4-5D6E-409C-BE32-E72D297353CC}">
              <c16:uniqueId val="{00000001-8AEE-441D-95D1-3C322EB08311}"/>
            </c:ext>
          </c:extLst>
        </c:ser>
        <c:ser>
          <c:idx val="2"/>
          <c:order val="2"/>
          <c:spPr>
            <a:solidFill>
              <a:schemeClr val="accent3"/>
            </a:solidFill>
            <a:ln w="9525" cmpd="sng" algn="ctr">
              <a:solidFill>
                <a:srgbClr val="FFFFFF"/>
              </a:solidFill>
              <a:prstDash val="solid"/>
            </a:ln>
          </c:spPr>
          <c:invertIfNegative val="0"/>
          <c:val>
            <c:numRef>
              <c:f>Sheet1!$A$3:$AS$3</c:f>
              <c:numCache>
                <c:formatCode>General</c:formatCode>
                <c:ptCount val="45"/>
                <c:pt idx="0">
                  <c:v>19364309</c:v>
                </c:pt>
                <c:pt idx="1">
                  <c:v>23758749</c:v>
                </c:pt>
                <c:pt idx="2">
                  <c:v>22207533.699999999</c:v>
                </c:pt>
                <c:pt idx="3">
                  <c:v>34152286.899999999</c:v>
                </c:pt>
                <c:pt idx="4">
                  <c:v>25737488.673469387</c:v>
                </c:pt>
                <c:pt idx="5">
                  <c:v>28460601.734693877</c:v>
                </c:pt>
                <c:pt idx="6">
                  <c:v>26606385.408163264</c:v>
                </c:pt>
                <c:pt idx="7">
                  <c:v>43167090.033673473</c:v>
                </c:pt>
                <c:pt idx="8">
                  <c:v>31774235.386650003</c:v>
                </c:pt>
                <c:pt idx="9">
                  <c:v>34654342.008577026</c:v>
                </c:pt>
                <c:pt idx="10">
                  <c:v>36277275.739851892</c:v>
                </c:pt>
                <c:pt idx="11">
                  <c:v>49978437.530588523</c:v>
                </c:pt>
                <c:pt idx="12">
                  <c:v>32490904.18</c:v>
                </c:pt>
                <c:pt idx="13">
                  <c:v>35362461.457247697</c:v>
                </c:pt>
                <c:pt idx="14">
                  <c:v>37551638.185914896</c:v>
                </c:pt>
                <c:pt idx="15">
                  <c:v>47925246.302486271</c:v>
                </c:pt>
                <c:pt idx="16">
                  <c:v>31816015.749560952</c:v>
                </c:pt>
                <c:pt idx="17">
                  <c:v>35836501.733868383</c:v>
                </c:pt>
                <c:pt idx="18">
                  <c:v>40644510.711213537</c:v>
                </c:pt>
                <c:pt idx="19">
                  <c:v>54581520.15909104</c:v>
                </c:pt>
                <c:pt idx="20">
                  <c:v>33126122.5</c:v>
                </c:pt>
                <c:pt idx="21">
                  <c:v>12313821.74194428</c:v>
                </c:pt>
                <c:pt idx="22">
                  <c:v>26428193.797524422</c:v>
                </c:pt>
                <c:pt idx="23">
                  <c:v>32075009.421015706</c:v>
                </c:pt>
                <c:pt idx="24">
                  <c:v>16147071.737684397</c:v>
                </c:pt>
                <c:pt idx="25">
                  <c:v>29905135.532311272</c:v>
                </c:pt>
                <c:pt idx="26">
                  <c:v>41411155.502627932</c:v>
                </c:pt>
                <c:pt idx="27">
                  <c:v>47802331.543016791</c:v>
                </c:pt>
                <c:pt idx="28">
                  <c:v>31058144.081538994</c:v>
                </c:pt>
                <c:pt idx="29">
                  <c:v>39089049.914083794</c:v>
                </c:pt>
                <c:pt idx="30">
                  <c:v>43583647.002491981</c:v>
                </c:pt>
                <c:pt idx="31">
                  <c:v>51122566.936192818</c:v>
                </c:pt>
                <c:pt idx="32">
                  <c:v>31199983.007474218</c:v>
                </c:pt>
                <c:pt idx="33">
                  <c:v>39081782.762084112</c:v>
                </c:pt>
                <c:pt idx="34">
                  <c:v>45668598.19993642</c:v>
                </c:pt>
                <c:pt idx="35">
                  <c:v>57156279</c:v>
                </c:pt>
                <c:pt idx="36">
                  <c:v>35092861.200000003</c:v>
                </c:pt>
                <c:pt idx="37">
                  <c:v>45496569</c:v>
                </c:pt>
                <c:pt idx="38">
                  <c:v>47558222.632376</c:v>
                </c:pt>
                <c:pt idx="39">
                  <c:v>55617539.906106159</c:v>
                </c:pt>
                <c:pt idx="40">
                  <c:v>36531101.424403675</c:v>
                </c:pt>
                <c:pt idx="41">
                  <c:v>44824089.454783864</c:v>
                </c:pt>
                <c:pt idx="42">
                  <c:v>49067147.799999997</c:v>
                </c:pt>
                <c:pt idx="43">
                  <c:v>57753164.594313242</c:v>
                </c:pt>
                <c:pt idx="44">
                  <c:v>43311165.382532246</c:v>
                </c:pt>
              </c:numCache>
            </c:numRef>
          </c:val>
          <c:extLst>
            <c:ext xmlns:c16="http://schemas.microsoft.com/office/drawing/2014/chart" uri="{C3380CC4-5D6E-409C-BE32-E72D297353CC}">
              <c16:uniqueId val="{00000002-8AEE-441D-95D1-3C322EB08311}"/>
            </c:ext>
          </c:extLst>
        </c:ser>
        <c:dLbls>
          <c:showLegendKey val="0"/>
          <c:showVal val="0"/>
          <c:showCatName val="0"/>
          <c:showSerName val="0"/>
          <c:showPercent val="0"/>
          <c:showBubbleSize val="0"/>
        </c:dLbls>
        <c:gapWidth val="80"/>
        <c:axId val="124873599"/>
        <c:axId val="1"/>
      </c:barChart>
      <c:catAx>
        <c:axId val="124873599"/>
        <c:scaling>
          <c:orientation val="minMax"/>
        </c:scaling>
        <c:delete val="0"/>
        <c:axPos val="b"/>
        <c:majorGridlines>
          <c:spPr>
            <a:ln>
              <a:noFill/>
            </a:ln>
          </c:spPr>
        </c:majorGridlines>
        <c:majorTickMark val="none"/>
        <c:minorTickMark val="none"/>
        <c:tickLblPos val="none"/>
        <c:spPr>
          <a:ln w="9525" cmpd="sng" algn="ctr">
            <a:solidFill>
              <a:srgbClr val="EBEBEC"/>
            </a:solidFill>
            <a:prstDash val="solid"/>
          </a:ln>
        </c:spPr>
        <c:crossAx val="1"/>
        <c:crosses val="min"/>
        <c:auto val="0"/>
        <c:lblAlgn val="ctr"/>
        <c:lblOffset val="100"/>
        <c:noMultiLvlLbl val="0"/>
      </c:catAx>
      <c:valAx>
        <c:axId val="1"/>
        <c:scaling>
          <c:orientation val="minMax"/>
          <c:max val="160000000"/>
          <c:min val="0"/>
        </c:scaling>
        <c:delete val="0"/>
        <c:axPos val="l"/>
        <c:majorGridlines>
          <c:spPr>
            <a:ln w="3175" cmpd="sng" algn="ctr">
              <a:solidFill>
                <a:srgbClr val="DEDEDE"/>
              </a:solidFill>
              <a:prstDash val="solid"/>
            </a:ln>
          </c:spPr>
        </c:majorGridlines>
        <c:numFmt formatCode="General" sourceLinked="1"/>
        <c:majorTickMark val="out"/>
        <c:minorTickMark val="none"/>
        <c:tickLblPos val="none"/>
        <c:spPr>
          <a:ln w="9525" cmpd="sng" algn="ctr">
            <a:solidFill>
              <a:srgbClr val="EBEBEC"/>
            </a:solidFill>
            <a:prstDash val="solid"/>
          </a:ln>
        </c:spPr>
        <c:txPr>
          <a:bodyPr wrap="none"/>
          <a:lstStyle/>
          <a:p>
            <a:pPr>
              <a:defRPr sz="900" kern="1200">
                <a:latin typeface="Century Schoolbook (Body)"/>
                <a:ea typeface="+mn-ea"/>
                <a:cs typeface="+mn-cs"/>
              </a:defRPr>
            </a:pPr>
            <a:endParaRPr lang="en-US"/>
          </a:p>
        </c:txPr>
        <c:crossAx val="124873599"/>
        <c:crosses val="min"/>
        <c:crossBetween val="between"/>
        <c:majorUnit val="100000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E811AF59-635B-4E14-85FD-DC70C246AEE2}" type="datetimeFigureOut">
              <a:rPr lang="en-GB" smtClean="0"/>
              <a:t>29/05/2026</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FBD8D28C-B58E-45F5-995E-C74F3B72E8FA}" type="slidenum">
              <a:rPr lang="en-GB" smtClean="0"/>
              <a:t>‹#›</a:t>
            </a:fld>
            <a:endParaRPr lang="en-GB"/>
          </a:p>
        </p:txBody>
      </p:sp>
    </p:spTree>
    <p:extLst>
      <p:ext uri="{BB962C8B-B14F-4D97-AF65-F5344CB8AC3E}">
        <p14:creationId xmlns:p14="http://schemas.microsoft.com/office/powerpoint/2010/main" val="26232688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0D7F613-99C4-4702-BB0C-FCBCA975605F}" type="datetimeFigureOut">
              <a:rPr lang="en-GB" smtClean="0"/>
              <a:t>29/05/2026</a:t>
            </a:fld>
            <a:endParaRPr lang="en-GB"/>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9957262-59D7-40C0-BDE8-4D826AF373C1}" type="slidenum">
              <a:rPr lang="en-GB" smtClean="0"/>
              <a:t>‹#›</a:t>
            </a:fld>
            <a:endParaRPr lang="en-GB"/>
          </a:p>
        </p:txBody>
      </p:sp>
    </p:spTree>
    <p:extLst>
      <p:ext uri="{BB962C8B-B14F-4D97-AF65-F5344CB8AC3E}">
        <p14:creationId xmlns:p14="http://schemas.microsoft.com/office/powerpoint/2010/main" val="3655051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9957262-59D7-40C0-BDE8-4D826AF373C1}" type="slidenum">
              <a:rPr lang="en-GB" smtClean="0"/>
              <a:t>2</a:t>
            </a:fld>
            <a:endParaRPr lang="en-GB"/>
          </a:p>
        </p:txBody>
      </p:sp>
    </p:spTree>
    <p:extLst>
      <p:ext uri="{BB962C8B-B14F-4D97-AF65-F5344CB8AC3E}">
        <p14:creationId xmlns:p14="http://schemas.microsoft.com/office/powerpoint/2010/main" val="1462758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B16D7-934A-0ECA-6543-6C2518B471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3BAD06-E886-D0C2-14E5-0B0D40C506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CCB325-08A7-4CFB-F233-B6F34574F95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C9AD011-F954-BE24-ADBB-3AAD338FE1AC}"/>
              </a:ext>
            </a:extLst>
          </p:cNvPr>
          <p:cNvSpPr>
            <a:spLocks noGrp="1"/>
          </p:cNvSpPr>
          <p:nvPr>
            <p:ph type="sldNum" sz="quarter" idx="5"/>
          </p:nvPr>
        </p:nvSpPr>
        <p:spPr/>
        <p:txBody>
          <a:bodyPr/>
          <a:lstStyle/>
          <a:p>
            <a:fld id="{19957262-59D7-40C0-BDE8-4D826AF373C1}" type="slidenum">
              <a:rPr lang="en-GB" smtClean="0"/>
              <a:t>3</a:t>
            </a:fld>
            <a:endParaRPr lang="en-GB"/>
          </a:p>
        </p:txBody>
      </p:sp>
    </p:spTree>
    <p:extLst>
      <p:ext uri="{BB962C8B-B14F-4D97-AF65-F5344CB8AC3E}">
        <p14:creationId xmlns:p14="http://schemas.microsoft.com/office/powerpoint/2010/main" val="1316515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655EC-E8E9-7C54-3A5C-A43805331B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08525D-8302-DCD6-591C-BC25D9E45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410AC9-77C1-9B0D-95AD-603FB5E3970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0577DDE-BFE3-DAB6-FD74-0FD351971CF4}"/>
              </a:ext>
            </a:extLst>
          </p:cNvPr>
          <p:cNvSpPr>
            <a:spLocks noGrp="1"/>
          </p:cNvSpPr>
          <p:nvPr>
            <p:ph type="sldNum" sz="quarter" idx="5"/>
          </p:nvPr>
        </p:nvSpPr>
        <p:spPr/>
        <p:txBody>
          <a:bodyPr/>
          <a:lstStyle/>
          <a:p>
            <a:fld id="{19957262-59D7-40C0-BDE8-4D826AF373C1}" type="slidenum">
              <a:rPr lang="en-GB" smtClean="0"/>
              <a:t>4</a:t>
            </a:fld>
            <a:endParaRPr lang="en-GB"/>
          </a:p>
        </p:txBody>
      </p:sp>
    </p:spTree>
    <p:extLst>
      <p:ext uri="{BB962C8B-B14F-4D97-AF65-F5344CB8AC3E}">
        <p14:creationId xmlns:p14="http://schemas.microsoft.com/office/powerpoint/2010/main" val="266322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8FC4A-BBFC-102A-C786-7FF9A1D62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DC2DCD-44AB-66FF-A1A1-94423A3DFD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131B3A-FBDA-D792-8C08-FBC6625C2A5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78071F0-2C8A-46F4-AE8D-3940928669BC}"/>
              </a:ext>
            </a:extLst>
          </p:cNvPr>
          <p:cNvSpPr>
            <a:spLocks noGrp="1"/>
          </p:cNvSpPr>
          <p:nvPr>
            <p:ph type="sldNum" sz="quarter" idx="5"/>
          </p:nvPr>
        </p:nvSpPr>
        <p:spPr/>
        <p:txBody>
          <a:bodyPr/>
          <a:lstStyle/>
          <a:p>
            <a:fld id="{19957262-59D7-40C0-BDE8-4D826AF373C1}" type="slidenum">
              <a:rPr lang="en-GB" smtClean="0"/>
              <a:t>6</a:t>
            </a:fld>
            <a:endParaRPr lang="en-GB"/>
          </a:p>
        </p:txBody>
      </p:sp>
    </p:spTree>
    <p:extLst>
      <p:ext uri="{BB962C8B-B14F-4D97-AF65-F5344CB8AC3E}">
        <p14:creationId xmlns:p14="http://schemas.microsoft.com/office/powerpoint/2010/main" val="66261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84B9E-6A19-A571-170F-B7A66B5217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EE6FF-D910-63FD-1BE9-69E7E9B288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2FE657-1416-5D80-9B86-751EA8CC475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4F85311-9F6C-A158-E480-82E95559AF2D}"/>
              </a:ext>
            </a:extLst>
          </p:cNvPr>
          <p:cNvSpPr>
            <a:spLocks noGrp="1"/>
          </p:cNvSpPr>
          <p:nvPr>
            <p:ph type="sldNum" sz="quarter" idx="5"/>
          </p:nvPr>
        </p:nvSpPr>
        <p:spPr/>
        <p:txBody>
          <a:bodyPr/>
          <a:lstStyle/>
          <a:p>
            <a:fld id="{19957262-59D7-40C0-BDE8-4D826AF373C1}" type="slidenum">
              <a:rPr lang="en-GB" smtClean="0"/>
              <a:t>7</a:t>
            </a:fld>
            <a:endParaRPr lang="en-GB"/>
          </a:p>
        </p:txBody>
      </p:sp>
    </p:spTree>
    <p:extLst>
      <p:ext uri="{BB962C8B-B14F-4D97-AF65-F5344CB8AC3E}">
        <p14:creationId xmlns:p14="http://schemas.microsoft.com/office/powerpoint/2010/main" val="2053100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627DA-E60E-CD4B-3021-D4EFFD587B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F44A12-487F-D3C1-9537-F85B350EF2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C122F0-644A-C49D-6456-F11FA81818F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0F73255-1503-2143-44FC-C1335860FDDE}"/>
              </a:ext>
            </a:extLst>
          </p:cNvPr>
          <p:cNvSpPr>
            <a:spLocks noGrp="1"/>
          </p:cNvSpPr>
          <p:nvPr>
            <p:ph type="sldNum" sz="quarter" idx="5"/>
          </p:nvPr>
        </p:nvSpPr>
        <p:spPr/>
        <p:txBody>
          <a:bodyPr/>
          <a:lstStyle/>
          <a:p>
            <a:fld id="{19957262-59D7-40C0-BDE8-4D826AF373C1}" type="slidenum">
              <a:rPr lang="en-GB" smtClean="0"/>
              <a:t>8</a:t>
            </a:fld>
            <a:endParaRPr lang="en-GB"/>
          </a:p>
        </p:txBody>
      </p:sp>
    </p:spTree>
    <p:extLst>
      <p:ext uri="{BB962C8B-B14F-4D97-AF65-F5344CB8AC3E}">
        <p14:creationId xmlns:p14="http://schemas.microsoft.com/office/powerpoint/2010/main" val="3301659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75B7F-EE26-1716-CB74-DF7C1261C7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43490E-AAF8-3CB6-1955-95C2E46EA4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08CD50-6331-B4F2-B0D1-1A3318C3516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D8F872E-72F8-074F-0839-93A38307BC98}"/>
              </a:ext>
            </a:extLst>
          </p:cNvPr>
          <p:cNvSpPr>
            <a:spLocks noGrp="1"/>
          </p:cNvSpPr>
          <p:nvPr>
            <p:ph type="sldNum" sz="quarter" idx="5"/>
          </p:nvPr>
        </p:nvSpPr>
        <p:spPr/>
        <p:txBody>
          <a:bodyPr/>
          <a:lstStyle/>
          <a:p>
            <a:fld id="{19957262-59D7-40C0-BDE8-4D826AF373C1}" type="slidenum">
              <a:rPr lang="en-GB" smtClean="0"/>
              <a:t>9</a:t>
            </a:fld>
            <a:endParaRPr lang="en-GB"/>
          </a:p>
        </p:txBody>
      </p:sp>
    </p:spTree>
    <p:extLst>
      <p:ext uri="{BB962C8B-B14F-4D97-AF65-F5344CB8AC3E}">
        <p14:creationId xmlns:p14="http://schemas.microsoft.com/office/powerpoint/2010/main" val="1872711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9957262-59D7-40C0-BDE8-4D826AF373C1}" type="slidenum">
              <a:rPr lang="en-GB" smtClean="0"/>
              <a:t>10</a:t>
            </a:fld>
            <a:endParaRPr lang="en-GB"/>
          </a:p>
        </p:txBody>
      </p:sp>
    </p:spTree>
    <p:extLst>
      <p:ext uri="{BB962C8B-B14F-4D97-AF65-F5344CB8AC3E}">
        <p14:creationId xmlns:p14="http://schemas.microsoft.com/office/powerpoint/2010/main" val="3575402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ase Study - cover">
    <p:spTree>
      <p:nvGrpSpPr>
        <p:cNvPr id="1" name=""/>
        <p:cNvGrpSpPr/>
        <p:nvPr/>
      </p:nvGrpSpPr>
      <p:grpSpPr>
        <a:xfrm>
          <a:off x="0" y="0"/>
          <a:ext cx="0" cy="0"/>
          <a:chOff x="0" y="0"/>
          <a:chExt cx="0" cy="0"/>
        </a:xfrm>
      </p:grpSpPr>
      <p:sp>
        <p:nvSpPr>
          <p:cNvPr id="23" name="Picture Placeholder 22"/>
          <p:cNvSpPr>
            <a:spLocks noGrp="1"/>
          </p:cNvSpPr>
          <p:nvPr>
            <p:ph type="pic" sz="quarter" idx="17"/>
          </p:nvPr>
        </p:nvSpPr>
        <p:spPr>
          <a:xfrm>
            <a:off x="0" y="0"/>
            <a:ext cx="12195175" cy="6858000"/>
          </a:xfrm>
        </p:spPr>
        <p:txBody>
          <a:bodyPr/>
          <a:lstStyle/>
          <a:p>
            <a:endParaRPr lang="en-GB"/>
          </a:p>
        </p:txBody>
      </p:sp>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Title 3"/>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5" name="Date Placeholder 4"/>
          <p:cNvSpPr>
            <a:spLocks noGrp="1"/>
          </p:cNvSpPr>
          <p:nvPr>
            <p:ph type="dt" sz="half" idx="14"/>
          </p:nvPr>
        </p:nvSpPr>
        <p:spPr/>
        <p:txBody>
          <a:bodyPr/>
          <a:lstStyle>
            <a:lvl1pPr>
              <a:defRPr>
                <a:solidFill>
                  <a:schemeClr val="bg1"/>
                </a:solidFill>
              </a:defRPr>
            </a:lvl1pPr>
          </a:lstStyle>
          <a:p>
            <a:pPr algn="ctr"/>
            <a:r>
              <a:rPr lang="en-US"/>
              <a:t>Date</a:t>
            </a:r>
            <a:endParaRPr lang="en-GB"/>
          </a:p>
        </p:txBody>
      </p:sp>
      <p:sp>
        <p:nvSpPr>
          <p:cNvPr id="6" name="Footer Placeholder 5"/>
          <p:cNvSpPr>
            <a:spLocks noGrp="1"/>
          </p:cNvSpPr>
          <p:nvPr>
            <p:ph type="ftr" sz="quarter" idx="15"/>
          </p:nvPr>
        </p:nvSpPr>
        <p:spPr/>
        <p:txBody>
          <a:bodyPr/>
          <a:lstStyle>
            <a:lvl1pPr>
              <a:defRPr>
                <a:solidFill>
                  <a:schemeClr val="bg1"/>
                </a:solidFill>
              </a:defRPr>
            </a:lvl1pPr>
          </a:lstStyle>
          <a:p>
            <a:r>
              <a:rPr lang="en-GB"/>
              <a:t>Document Title</a:t>
            </a:r>
          </a:p>
        </p:txBody>
      </p:sp>
      <p:sp>
        <p:nvSpPr>
          <p:cNvPr id="20" name="Slide Number Placeholder 19"/>
          <p:cNvSpPr>
            <a:spLocks noGrp="1"/>
          </p:cNvSpPr>
          <p:nvPr>
            <p:ph type="sldNum" sz="quarter" idx="16"/>
          </p:nvPr>
        </p:nvSpPr>
        <p:spPr/>
        <p:txBody>
          <a:bodyPr/>
          <a:lstStyle>
            <a:lvl1pPr>
              <a:defRPr>
                <a:solidFill>
                  <a:schemeClr val="bg1"/>
                </a:solidFill>
              </a:defRPr>
            </a:lvl1pPr>
          </a:lstStyle>
          <a:p>
            <a:fld id="{DB75849A-DCBB-42F1-AFA6-094BC757D811}" type="slidenum">
              <a:rPr lang="en-GB" smtClean="0"/>
              <a:pPr/>
              <a:t>‹#›</a:t>
            </a:fld>
            <a:endParaRPr lang="en-GB"/>
          </a:p>
        </p:txBody>
      </p:sp>
    </p:spTree>
    <p:extLst>
      <p:ext uri="{BB962C8B-B14F-4D97-AF65-F5344CB8AC3E}">
        <p14:creationId xmlns:p14="http://schemas.microsoft.com/office/powerpoint/2010/main" val="599389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Date Placeholder 4"/>
          <p:cNvSpPr>
            <a:spLocks noGrp="1"/>
          </p:cNvSpPr>
          <p:nvPr>
            <p:ph type="dt" sz="half" idx="10"/>
          </p:nvPr>
        </p:nvSpPr>
        <p:spPr/>
        <p:txBody>
          <a:bodyPr/>
          <a:lstStyle/>
          <a:p>
            <a:r>
              <a:rPr lang="en-US"/>
              <a:t>Date</a:t>
            </a:r>
            <a:endParaRPr lang="en-GB"/>
          </a:p>
        </p:txBody>
      </p:sp>
      <p:sp>
        <p:nvSpPr>
          <p:cNvPr id="6" name="Footer Placeholder 5"/>
          <p:cNvSpPr>
            <a:spLocks noGrp="1"/>
          </p:cNvSpPr>
          <p:nvPr>
            <p:ph type="ftr" sz="quarter" idx="11"/>
          </p:nvPr>
        </p:nvSpPr>
        <p:spPr/>
        <p:txBody>
          <a:bodyPr/>
          <a:lstStyle/>
          <a:p>
            <a:r>
              <a:rPr lang="en-GB"/>
              <a:t>Document Title</a:t>
            </a:r>
          </a:p>
        </p:txBody>
      </p:sp>
      <p:sp>
        <p:nvSpPr>
          <p:cNvPr id="7" name="Slide Number Placeholder 6"/>
          <p:cNvSpPr>
            <a:spLocks noGrp="1"/>
          </p:cNvSpPr>
          <p:nvPr>
            <p:ph type="sldNum" sz="quarter" idx="12"/>
          </p:nvPr>
        </p:nvSpPr>
        <p:spPr/>
        <p:txBody>
          <a:bodyPr/>
          <a:lstStyle/>
          <a:p>
            <a:fld id="{DB75849A-DCBB-42F1-AFA6-094BC757D811}" type="slidenum">
              <a:rPr lang="en-GB" smtClean="0"/>
              <a:t>‹#›</a:t>
            </a:fld>
            <a:endParaRPr lang="en-GB"/>
          </a:p>
        </p:txBody>
      </p:sp>
      <p:sp>
        <p:nvSpPr>
          <p:cNvPr id="8" name="Content Placeholder 2"/>
          <p:cNvSpPr>
            <a:spLocks noGrp="1"/>
          </p:cNvSpPr>
          <p:nvPr>
            <p:ph idx="1"/>
          </p:nvPr>
        </p:nvSpPr>
        <p:spPr>
          <a:xfrm>
            <a:off x="438151" y="4425696"/>
            <a:ext cx="11328399" cy="1159129"/>
          </a:xfrm>
        </p:spPr>
        <p:txBody>
          <a:bodyPr numCol="3" spcCol="360000"/>
          <a:lstStyle>
            <a:lvl1pPr marL="0" indent="0">
              <a:spcBef>
                <a:spcPts val="1500"/>
              </a:spcBef>
              <a:buFont typeface="Arial" panose="020B0604020202020204" pitchFamily="34" charset="0"/>
              <a:buNone/>
              <a:defRPr/>
            </a:lvl1pPr>
            <a:lvl2pPr marL="0" indent="0">
              <a:spcBef>
                <a:spcPts val="1500"/>
              </a:spcBef>
              <a:buFont typeface="Arial" panose="020B0604020202020204" pitchFamily="34" charset="0"/>
              <a:buNone/>
              <a:defRPr/>
            </a:lvl2pPr>
            <a:lvl3pPr marL="180975" indent="-180975">
              <a:defRPr/>
            </a:lvl3pPr>
            <a:lvl4pPr marL="357188" indent="-177800">
              <a:defRPr/>
            </a:lvl4pPr>
            <a:lvl5pPr marL="53340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12"/>
          <p:cNvSpPr>
            <a:spLocks noGrp="1"/>
          </p:cNvSpPr>
          <p:nvPr>
            <p:ph type="pic" sz="quarter" idx="13"/>
          </p:nvPr>
        </p:nvSpPr>
        <p:spPr>
          <a:xfrm>
            <a:off x="438150" y="1536700"/>
            <a:ext cx="3650456" cy="2520000"/>
          </a:xfrm>
        </p:spPr>
        <p:txBody>
          <a:bodyPr/>
          <a:lstStyle/>
          <a:p>
            <a:endParaRPr lang="en-GB"/>
          </a:p>
        </p:txBody>
      </p:sp>
      <p:sp>
        <p:nvSpPr>
          <p:cNvPr id="14" name="Picture Placeholder 12"/>
          <p:cNvSpPr>
            <a:spLocks noGrp="1"/>
          </p:cNvSpPr>
          <p:nvPr>
            <p:ph type="pic" sz="quarter" idx="14"/>
          </p:nvPr>
        </p:nvSpPr>
        <p:spPr>
          <a:xfrm>
            <a:off x="4269955" y="1536700"/>
            <a:ext cx="7496595" cy="2520000"/>
          </a:xfrm>
        </p:spPr>
        <p:txBody>
          <a:bodyPr/>
          <a:lstStyle/>
          <a:p>
            <a:endParaRPr lang="en-GB"/>
          </a:p>
        </p:txBody>
      </p:sp>
    </p:spTree>
    <p:extLst>
      <p:ext uri="{BB962C8B-B14F-4D97-AF65-F5344CB8AC3E}">
        <p14:creationId xmlns:p14="http://schemas.microsoft.com/office/powerpoint/2010/main" val="878773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9"/>
          </a:xfrm>
          <a:prstGeom prst="rect">
            <a:avLst/>
          </a:prstGeom>
        </p:spPr>
      </p:pic>
      <p:sp>
        <p:nvSpPr>
          <p:cNvPr id="2"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a:t>Master title style</a:t>
            </a:r>
            <a:endParaRPr lang="en-GB"/>
          </a:p>
        </p:txBody>
      </p:sp>
      <p:sp>
        <p:nvSpPr>
          <p:cNvPr id="3"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 subtitle style</a:t>
            </a:r>
            <a:endParaRPr lang="en-GB"/>
          </a:p>
        </p:txBody>
      </p:sp>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2"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a:t>Date</a:t>
            </a:r>
            <a:endParaRPr lang="en-GB"/>
          </a:p>
        </p:txBody>
      </p:sp>
    </p:spTree>
    <p:extLst>
      <p:ext uri="{BB962C8B-B14F-4D97-AF65-F5344CB8AC3E}">
        <p14:creationId xmlns:p14="http://schemas.microsoft.com/office/powerpoint/2010/main" val="1087260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inal Slid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8"/>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a:t>Master title style</a:t>
            </a:r>
            <a:endParaRPr lang="en-GB"/>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 subtitle style</a:t>
            </a:r>
            <a:endParaRPr lang="en-GB"/>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a:t>Date</a:t>
            </a:r>
            <a:endParaRPr lang="en-GB"/>
          </a:p>
        </p:txBody>
      </p:sp>
    </p:spTree>
    <p:extLst>
      <p:ext uri="{BB962C8B-B14F-4D97-AF65-F5344CB8AC3E}">
        <p14:creationId xmlns:p14="http://schemas.microsoft.com/office/powerpoint/2010/main" val="159005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inal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9"/>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a:t>Master title style</a:t>
            </a:r>
            <a:endParaRPr lang="en-GB"/>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 subtitle style</a:t>
            </a:r>
            <a:endParaRPr lang="en-GB"/>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a:t>Date</a:t>
            </a:r>
            <a:endParaRPr lang="en-GB"/>
          </a:p>
        </p:txBody>
      </p:sp>
    </p:spTree>
    <p:extLst>
      <p:ext uri="{BB962C8B-B14F-4D97-AF65-F5344CB8AC3E}">
        <p14:creationId xmlns:p14="http://schemas.microsoft.com/office/powerpoint/2010/main" val="391369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inal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9"/>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a:t>Master title style</a:t>
            </a:r>
            <a:endParaRPr lang="en-GB"/>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 subtitle style</a:t>
            </a:r>
            <a:endParaRPr lang="en-GB"/>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a:t>Date</a:t>
            </a:r>
            <a:endParaRPr lang="en-GB"/>
          </a:p>
        </p:txBody>
      </p:sp>
    </p:spTree>
    <p:extLst>
      <p:ext uri="{BB962C8B-B14F-4D97-AF65-F5344CB8AC3E}">
        <p14:creationId xmlns:p14="http://schemas.microsoft.com/office/powerpoint/2010/main" val="3575047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inal Slide 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8"/>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a:t>Master title style</a:t>
            </a:r>
            <a:endParaRPr lang="en-GB"/>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 subtitle style</a:t>
            </a:r>
            <a:endParaRPr lang="en-GB"/>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a:t>Date</a:t>
            </a:r>
            <a:endParaRPr lang="en-GB"/>
          </a:p>
        </p:txBody>
      </p:sp>
    </p:spTree>
    <p:extLst>
      <p:ext uri="{BB962C8B-B14F-4D97-AF65-F5344CB8AC3E}">
        <p14:creationId xmlns:p14="http://schemas.microsoft.com/office/powerpoint/2010/main" val="1467506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2A4A23B-C85D-433E-8C91-4C89278D91AB}"/>
              </a:ext>
            </a:extLst>
          </p:cNvPr>
          <p:cNvGraphicFramePr>
            <a:graphicFrameLocks/>
          </p:cNvGraphicFramePr>
          <p:nvPr userDrawn="1">
            <p:custDataLst>
              <p:tags r:id="rId9"/>
            </p:custDataLst>
            <p:extLst>
              <p:ext uri="{D42A27DB-BD31-4B8C-83A1-F6EECF244321}">
                <p14:modId xmlns:p14="http://schemas.microsoft.com/office/powerpoint/2010/main" val="20732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52A4A23B-C85D-433E-8C91-4C89278D91A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6098315" y="6308726"/>
            <a:ext cx="4905442" cy="144000"/>
          </a:xfrm>
          <a:prstGeom prst="rect">
            <a:avLst/>
          </a:prstGeom>
        </p:spPr>
        <p:txBody>
          <a:bodyPr vert="horz" lIns="0" tIns="0" rIns="0" bIns="0" rtlCol="0" anchor="ctr">
            <a:noAutofit/>
          </a:bodyPr>
          <a:lstStyle>
            <a:lvl1pPr algn="r">
              <a:defRPr sz="900">
                <a:solidFill>
                  <a:schemeClr val="accent6"/>
                </a:solidFill>
              </a:defRPr>
            </a:lvl1pPr>
          </a:lstStyle>
          <a:p>
            <a:r>
              <a:rPr lang="en-GB"/>
              <a:t>Document Title</a:t>
            </a:r>
          </a:p>
        </p:txBody>
      </p:sp>
      <p:sp>
        <p:nvSpPr>
          <p:cNvPr id="2" name="Title Placeholder 1"/>
          <p:cNvSpPr>
            <a:spLocks noGrp="1"/>
          </p:cNvSpPr>
          <p:nvPr>
            <p:ph type="title"/>
          </p:nvPr>
        </p:nvSpPr>
        <p:spPr>
          <a:xfrm>
            <a:off x="438150" y="408720"/>
            <a:ext cx="11328400" cy="61045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38150" y="1495426"/>
            <a:ext cx="11328400" cy="40893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a:t>
            </a:r>
          </a:p>
          <a:p>
            <a:pPr lvl="7"/>
            <a:r>
              <a:rPr lang="en-US"/>
              <a:t>Eight</a:t>
            </a:r>
          </a:p>
          <a:p>
            <a:pPr lvl="8"/>
            <a:r>
              <a:rPr lang="en-US"/>
              <a:t>nine</a:t>
            </a:r>
          </a:p>
        </p:txBody>
      </p:sp>
      <p:sp>
        <p:nvSpPr>
          <p:cNvPr id="4" name="Date Placeholder 3"/>
          <p:cNvSpPr>
            <a:spLocks noGrp="1"/>
          </p:cNvSpPr>
          <p:nvPr>
            <p:ph type="dt" sz="half" idx="2"/>
          </p:nvPr>
        </p:nvSpPr>
        <p:spPr>
          <a:xfrm>
            <a:off x="11027572" y="6308726"/>
            <a:ext cx="469108" cy="144000"/>
          </a:xfrm>
          <a:prstGeom prst="rect">
            <a:avLst/>
          </a:prstGeom>
        </p:spPr>
        <p:txBody>
          <a:bodyPr vert="horz" lIns="0" tIns="0" rIns="0" bIns="0" rtlCol="0" anchor="ctr">
            <a:noAutofit/>
          </a:bodyPr>
          <a:lstStyle>
            <a:lvl1pPr algn="r">
              <a:defRPr sz="900">
                <a:solidFill>
                  <a:schemeClr val="accent6"/>
                </a:solidFill>
              </a:defRPr>
            </a:lvl1pPr>
          </a:lstStyle>
          <a:p>
            <a:pPr algn="ctr"/>
            <a:r>
              <a:rPr lang="en-US"/>
              <a:t>Date</a:t>
            </a:r>
            <a:endParaRPr lang="en-GB"/>
          </a:p>
        </p:txBody>
      </p:sp>
      <p:sp>
        <p:nvSpPr>
          <p:cNvPr id="6" name="Slide Number Placeholder 5"/>
          <p:cNvSpPr>
            <a:spLocks noGrp="1"/>
          </p:cNvSpPr>
          <p:nvPr>
            <p:ph type="sldNum" sz="quarter" idx="4"/>
          </p:nvPr>
        </p:nvSpPr>
        <p:spPr>
          <a:xfrm>
            <a:off x="11532394" y="6308726"/>
            <a:ext cx="243521" cy="144000"/>
          </a:xfrm>
          <a:prstGeom prst="rect">
            <a:avLst/>
          </a:prstGeom>
        </p:spPr>
        <p:txBody>
          <a:bodyPr vert="horz" lIns="0" tIns="0" rIns="0" bIns="0" rtlCol="0" anchor="ctr">
            <a:noAutofit/>
          </a:bodyPr>
          <a:lstStyle>
            <a:lvl1pPr algn="r">
              <a:defRPr sz="900">
                <a:solidFill>
                  <a:schemeClr val="accent6"/>
                </a:solidFill>
              </a:defRPr>
            </a:lvl1pPr>
          </a:lstStyle>
          <a:p>
            <a:fld id="{DB75849A-DCBB-42F1-AFA6-094BC757D811}" type="slidenum">
              <a:rPr lang="en-GB" smtClean="0"/>
              <a:pPr/>
              <a:t>‹#›</a:t>
            </a:fld>
            <a:endParaRPr lang="en-GB"/>
          </a:p>
        </p:txBody>
      </p:sp>
      <p:cxnSp>
        <p:nvCxnSpPr>
          <p:cNvPr id="9" name="Straight Connector 8"/>
          <p:cNvCxnSpPr/>
          <p:nvPr userDrawn="1"/>
        </p:nvCxnSpPr>
        <p:spPr>
          <a:xfrm>
            <a:off x="438150" y="6153150"/>
            <a:ext cx="11328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31006" y="6332854"/>
            <a:ext cx="1476000" cy="197273"/>
          </a:xfrm>
          <a:prstGeom prst="rect">
            <a:avLst/>
          </a:prstGeom>
        </p:spPr>
      </p:pic>
    </p:spTree>
    <p:extLst>
      <p:ext uri="{BB962C8B-B14F-4D97-AF65-F5344CB8AC3E}">
        <p14:creationId xmlns:p14="http://schemas.microsoft.com/office/powerpoint/2010/main" val="169295135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68" r:id="rId3"/>
    <p:sldLayoutId id="2147483669" r:id="rId4"/>
    <p:sldLayoutId id="2147483670" r:id="rId5"/>
    <p:sldLayoutId id="2147483671" r:id="rId6"/>
    <p:sldLayoutId id="2147483672" r:id="rId7"/>
  </p:sldLayoutIdLst>
  <p:hf hdr="0"/>
  <p:txStyles>
    <p:titleStyle>
      <a:lvl1pPr algn="l" defTabSz="914400" rtl="0" eaLnBrk="1" latinLnBrk="0" hangingPunct="1">
        <a:lnSpc>
          <a:spcPct val="90000"/>
        </a:lnSpc>
        <a:spcBef>
          <a:spcPct val="0"/>
        </a:spcBef>
        <a:buNone/>
        <a:defRPr sz="1800" b="1" kern="1200">
          <a:solidFill>
            <a:schemeClr val="accent5"/>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oleObject" Target="../embeddings/oleObject2.bin"/><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slideLayout" Target="../slideLayouts/slideLayout2.xml"/><Relationship Id="rId58" Type="http://schemas.openxmlformats.org/officeDocument/2006/relationships/chart" Target="../charts/chart1.xml"/><Relationship Id="rId5" Type="http://schemas.openxmlformats.org/officeDocument/2006/relationships/tags" Target="../tags/tag7.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image" Target="../media/image1.emf"/><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notesSlide" Target="../notesSlides/notesSlide1.xml"/><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image" Target="../media/image9.svg"/><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s>
</file>

<file path=ppt/slides/_rels/slide3.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chart" Target="../charts/chart2.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image" Target="../media/image9.svg"/><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image" Target="../media/image1.emf"/><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oleObject" Target="../embeddings/oleObject3.bin"/><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notesSlide" Target="../notesSlides/notesSlide2.xml"/><Relationship Id="rId8" Type="http://schemas.openxmlformats.org/officeDocument/2006/relationships/tags" Target="../tags/tag62.xml"/></Relationships>
</file>

<file path=ppt/slides/_rels/slide4.xml.rels><?xml version="1.0" encoding="UTF-8" standalone="yes"?>
<Relationships xmlns="http://schemas.openxmlformats.org/package/2006/relationships"><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9" Type="http://schemas.openxmlformats.org/officeDocument/2006/relationships/tags" Target="../tags/tag121.xml"/><Relationship Id="rId21" Type="http://schemas.openxmlformats.org/officeDocument/2006/relationships/tags" Target="../tags/tag103.xml"/><Relationship Id="rId34" Type="http://schemas.openxmlformats.org/officeDocument/2006/relationships/tags" Target="../tags/tag116.xml"/><Relationship Id="rId42" Type="http://schemas.openxmlformats.org/officeDocument/2006/relationships/tags" Target="../tags/tag124.xml"/><Relationship Id="rId47" Type="http://schemas.openxmlformats.org/officeDocument/2006/relationships/slideLayout" Target="../slideLayouts/slideLayout2.xml"/><Relationship Id="rId50" Type="http://schemas.openxmlformats.org/officeDocument/2006/relationships/image" Target="../media/image1.emf"/><Relationship Id="rId7" Type="http://schemas.openxmlformats.org/officeDocument/2006/relationships/tags" Target="../tags/tag89.xml"/><Relationship Id="rId2" Type="http://schemas.openxmlformats.org/officeDocument/2006/relationships/tags" Target="../tags/tag84.xml"/><Relationship Id="rId16" Type="http://schemas.openxmlformats.org/officeDocument/2006/relationships/tags" Target="../tags/tag98.xml"/><Relationship Id="rId29" Type="http://schemas.openxmlformats.org/officeDocument/2006/relationships/tags" Target="../tags/tag111.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tags" Target="../tags/tag114.xml"/><Relationship Id="rId37" Type="http://schemas.openxmlformats.org/officeDocument/2006/relationships/tags" Target="../tags/tag119.xml"/><Relationship Id="rId40" Type="http://schemas.openxmlformats.org/officeDocument/2006/relationships/tags" Target="../tags/tag122.xml"/><Relationship Id="rId45" Type="http://schemas.openxmlformats.org/officeDocument/2006/relationships/tags" Target="../tags/tag127.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36" Type="http://schemas.openxmlformats.org/officeDocument/2006/relationships/tags" Target="../tags/tag118.xml"/><Relationship Id="rId49" Type="http://schemas.openxmlformats.org/officeDocument/2006/relationships/oleObject" Target="../embeddings/oleObject4.bin"/><Relationship Id="rId10" Type="http://schemas.openxmlformats.org/officeDocument/2006/relationships/tags" Target="../tags/tag92.xml"/><Relationship Id="rId19" Type="http://schemas.openxmlformats.org/officeDocument/2006/relationships/tags" Target="../tags/tag101.xml"/><Relationship Id="rId31" Type="http://schemas.openxmlformats.org/officeDocument/2006/relationships/tags" Target="../tags/tag113.xml"/><Relationship Id="rId44" Type="http://schemas.openxmlformats.org/officeDocument/2006/relationships/tags" Target="../tags/tag126.xml"/><Relationship Id="rId52" Type="http://schemas.openxmlformats.org/officeDocument/2006/relationships/chart" Target="../charts/chart3.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tags" Target="../tags/tag117.xml"/><Relationship Id="rId43" Type="http://schemas.openxmlformats.org/officeDocument/2006/relationships/tags" Target="../tags/tag125.xml"/><Relationship Id="rId48" Type="http://schemas.openxmlformats.org/officeDocument/2006/relationships/notesSlide" Target="../notesSlides/notesSlide3.xml"/><Relationship Id="rId8" Type="http://schemas.openxmlformats.org/officeDocument/2006/relationships/tags" Target="../tags/tag90.xml"/><Relationship Id="rId51" Type="http://schemas.openxmlformats.org/officeDocument/2006/relationships/image" Target="../media/image9.svg"/><Relationship Id="rId3" Type="http://schemas.openxmlformats.org/officeDocument/2006/relationships/tags" Target="../tags/tag85.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tags" Target="../tags/tag115.xml"/><Relationship Id="rId38" Type="http://schemas.openxmlformats.org/officeDocument/2006/relationships/tags" Target="../tags/tag120.xml"/><Relationship Id="rId46" Type="http://schemas.openxmlformats.org/officeDocument/2006/relationships/tags" Target="../tags/tag128.xml"/><Relationship Id="rId20" Type="http://schemas.openxmlformats.org/officeDocument/2006/relationships/tags" Target="../tags/tag102.xml"/><Relationship Id="rId41" Type="http://schemas.openxmlformats.org/officeDocument/2006/relationships/tags" Target="../tags/tag123.xml"/><Relationship Id="rId1" Type="http://schemas.openxmlformats.org/officeDocument/2006/relationships/tags" Target="../tags/tag83.xml"/><Relationship Id="rId6" Type="http://schemas.openxmlformats.org/officeDocument/2006/relationships/tags" Target="../tags/tag8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tags" Target="../tags/tag154.xml"/><Relationship Id="rId21" Type="http://schemas.openxmlformats.org/officeDocument/2006/relationships/tags" Target="../tags/tag149.xml"/><Relationship Id="rId34" Type="http://schemas.openxmlformats.org/officeDocument/2006/relationships/notesSlide" Target="../notesSlides/notesSlide4.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tags" Target="../tags/tag153.xml"/><Relationship Id="rId33" Type="http://schemas.openxmlformats.org/officeDocument/2006/relationships/slideLayout" Target="../slideLayouts/slideLayout2.xml"/><Relationship Id="rId38" Type="http://schemas.openxmlformats.org/officeDocument/2006/relationships/chart" Target="../charts/chart4.xml"/><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tags" Target="../tags/tag157.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tags" Target="../tags/tag152.xml"/><Relationship Id="rId32" Type="http://schemas.openxmlformats.org/officeDocument/2006/relationships/tags" Target="../tags/tag160.xml"/><Relationship Id="rId37" Type="http://schemas.openxmlformats.org/officeDocument/2006/relationships/image" Target="../media/image9.svg"/><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tags" Target="../tags/tag151.xml"/><Relationship Id="rId28" Type="http://schemas.openxmlformats.org/officeDocument/2006/relationships/tags" Target="../tags/tag156.xml"/><Relationship Id="rId36" Type="http://schemas.openxmlformats.org/officeDocument/2006/relationships/image" Target="../media/image1.emf"/><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tags" Target="../tags/tag159.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tags" Target="../tags/tag155.xml"/><Relationship Id="rId30" Type="http://schemas.openxmlformats.org/officeDocument/2006/relationships/tags" Target="../tags/tag158.xml"/><Relationship Id="rId35" Type="http://schemas.openxmlformats.org/officeDocument/2006/relationships/oleObject" Target="../embeddings/oleObject5.bin"/><Relationship Id="rId8" Type="http://schemas.openxmlformats.org/officeDocument/2006/relationships/tags" Target="../tags/tag136.xml"/><Relationship Id="rId3" Type="http://schemas.openxmlformats.org/officeDocument/2006/relationships/tags" Target="../tags/tag131.xml"/></Relationships>
</file>

<file path=ppt/slides/_rels/slide7.xml.rels><?xml version="1.0" encoding="UTF-8" standalone="yes"?>
<Relationships xmlns="http://schemas.openxmlformats.org/package/2006/relationships"><Relationship Id="rId13" Type="http://schemas.openxmlformats.org/officeDocument/2006/relationships/tags" Target="../tags/tag173.xml"/><Relationship Id="rId18" Type="http://schemas.openxmlformats.org/officeDocument/2006/relationships/tags" Target="../tags/tag178.xml"/><Relationship Id="rId26" Type="http://schemas.openxmlformats.org/officeDocument/2006/relationships/tags" Target="../tags/tag186.xml"/><Relationship Id="rId3" Type="http://schemas.openxmlformats.org/officeDocument/2006/relationships/tags" Target="../tags/tag163.xml"/><Relationship Id="rId21" Type="http://schemas.openxmlformats.org/officeDocument/2006/relationships/tags" Target="../tags/tag181.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tags" Target="../tags/tag177.xml"/><Relationship Id="rId25" Type="http://schemas.openxmlformats.org/officeDocument/2006/relationships/tags" Target="../tags/tag185.xml"/><Relationship Id="rId33" Type="http://schemas.openxmlformats.org/officeDocument/2006/relationships/chart" Target="../charts/chart5.xml"/><Relationship Id="rId2" Type="http://schemas.openxmlformats.org/officeDocument/2006/relationships/tags" Target="../tags/tag162.xml"/><Relationship Id="rId16" Type="http://schemas.openxmlformats.org/officeDocument/2006/relationships/tags" Target="../tags/tag176.xml"/><Relationship Id="rId20" Type="http://schemas.openxmlformats.org/officeDocument/2006/relationships/tags" Target="../tags/tag180.xml"/><Relationship Id="rId29" Type="http://schemas.openxmlformats.org/officeDocument/2006/relationships/notesSlide" Target="../notesSlides/notesSlide5.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24" Type="http://schemas.openxmlformats.org/officeDocument/2006/relationships/tags" Target="../tags/tag184.xml"/><Relationship Id="rId32" Type="http://schemas.openxmlformats.org/officeDocument/2006/relationships/image" Target="../media/image9.svg"/><Relationship Id="rId5" Type="http://schemas.openxmlformats.org/officeDocument/2006/relationships/tags" Target="../tags/tag165.xml"/><Relationship Id="rId15" Type="http://schemas.openxmlformats.org/officeDocument/2006/relationships/tags" Target="../tags/tag175.xml"/><Relationship Id="rId23" Type="http://schemas.openxmlformats.org/officeDocument/2006/relationships/tags" Target="../tags/tag183.xml"/><Relationship Id="rId28" Type="http://schemas.openxmlformats.org/officeDocument/2006/relationships/slideLayout" Target="../slideLayouts/slideLayout2.xml"/><Relationship Id="rId10" Type="http://schemas.openxmlformats.org/officeDocument/2006/relationships/tags" Target="../tags/tag170.xml"/><Relationship Id="rId19" Type="http://schemas.openxmlformats.org/officeDocument/2006/relationships/tags" Target="../tags/tag179.xml"/><Relationship Id="rId31" Type="http://schemas.openxmlformats.org/officeDocument/2006/relationships/image" Target="../media/image1.emf"/><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 Id="rId22" Type="http://schemas.openxmlformats.org/officeDocument/2006/relationships/tags" Target="../tags/tag182.xml"/><Relationship Id="rId27" Type="http://schemas.openxmlformats.org/officeDocument/2006/relationships/tags" Target="../tags/tag187.xml"/><Relationship Id="rId30" Type="http://schemas.openxmlformats.org/officeDocument/2006/relationships/oleObject" Target="../embeddings/oleObject6.bin"/><Relationship Id="rId8" Type="http://schemas.openxmlformats.org/officeDocument/2006/relationships/tags" Target="../tags/tag168.xml"/></Relationships>
</file>

<file path=ppt/slides/_rels/slide8.xml.rels><?xml version="1.0" encoding="UTF-8" standalone="yes"?>
<Relationships xmlns="http://schemas.openxmlformats.org/package/2006/relationships"><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tags" Target="../tags/tag213.xml"/><Relationship Id="rId39" Type="http://schemas.openxmlformats.org/officeDocument/2006/relationships/tags" Target="../tags/tag226.xml"/><Relationship Id="rId21" Type="http://schemas.openxmlformats.org/officeDocument/2006/relationships/tags" Target="../tags/tag208.xml"/><Relationship Id="rId34" Type="http://schemas.openxmlformats.org/officeDocument/2006/relationships/tags" Target="../tags/tag221.xml"/><Relationship Id="rId42" Type="http://schemas.openxmlformats.org/officeDocument/2006/relationships/slideLayout" Target="../slideLayouts/slideLayout2.xml"/><Relationship Id="rId47" Type="http://schemas.openxmlformats.org/officeDocument/2006/relationships/chart" Target="../charts/chart6.xml"/><Relationship Id="rId7" Type="http://schemas.openxmlformats.org/officeDocument/2006/relationships/tags" Target="../tags/tag194.xml"/><Relationship Id="rId2" Type="http://schemas.openxmlformats.org/officeDocument/2006/relationships/tags" Target="../tags/tag189.xml"/><Relationship Id="rId16" Type="http://schemas.openxmlformats.org/officeDocument/2006/relationships/tags" Target="../tags/tag203.xml"/><Relationship Id="rId29" Type="http://schemas.openxmlformats.org/officeDocument/2006/relationships/tags" Target="../tags/tag216.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tags" Target="../tags/tag211.xml"/><Relationship Id="rId32" Type="http://schemas.openxmlformats.org/officeDocument/2006/relationships/tags" Target="../tags/tag219.xml"/><Relationship Id="rId37" Type="http://schemas.openxmlformats.org/officeDocument/2006/relationships/tags" Target="../tags/tag224.xml"/><Relationship Id="rId40" Type="http://schemas.openxmlformats.org/officeDocument/2006/relationships/tags" Target="../tags/tag227.xml"/><Relationship Id="rId45" Type="http://schemas.openxmlformats.org/officeDocument/2006/relationships/image" Target="../media/image1.emf"/><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tags" Target="../tags/tag210.xml"/><Relationship Id="rId28" Type="http://schemas.openxmlformats.org/officeDocument/2006/relationships/tags" Target="../tags/tag215.xml"/><Relationship Id="rId36" Type="http://schemas.openxmlformats.org/officeDocument/2006/relationships/tags" Target="../tags/tag223.xml"/><Relationship Id="rId10" Type="http://schemas.openxmlformats.org/officeDocument/2006/relationships/tags" Target="../tags/tag197.xml"/><Relationship Id="rId19" Type="http://schemas.openxmlformats.org/officeDocument/2006/relationships/tags" Target="../tags/tag206.xml"/><Relationship Id="rId31" Type="http://schemas.openxmlformats.org/officeDocument/2006/relationships/tags" Target="../tags/tag218.xml"/><Relationship Id="rId44" Type="http://schemas.openxmlformats.org/officeDocument/2006/relationships/oleObject" Target="../embeddings/oleObject7.bin"/><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 Id="rId27" Type="http://schemas.openxmlformats.org/officeDocument/2006/relationships/tags" Target="../tags/tag214.xml"/><Relationship Id="rId30" Type="http://schemas.openxmlformats.org/officeDocument/2006/relationships/tags" Target="../tags/tag217.xml"/><Relationship Id="rId35" Type="http://schemas.openxmlformats.org/officeDocument/2006/relationships/tags" Target="../tags/tag222.xml"/><Relationship Id="rId43" Type="http://schemas.openxmlformats.org/officeDocument/2006/relationships/notesSlide" Target="../notesSlides/notesSlide6.xml"/><Relationship Id="rId8" Type="http://schemas.openxmlformats.org/officeDocument/2006/relationships/tags" Target="../tags/tag195.xml"/><Relationship Id="rId3" Type="http://schemas.openxmlformats.org/officeDocument/2006/relationships/tags" Target="../tags/tag190.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tags" Target="../tags/tag212.xml"/><Relationship Id="rId33" Type="http://schemas.openxmlformats.org/officeDocument/2006/relationships/tags" Target="../tags/tag220.xml"/><Relationship Id="rId38" Type="http://schemas.openxmlformats.org/officeDocument/2006/relationships/tags" Target="../tags/tag225.xml"/><Relationship Id="rId46" Type="http://schemas.openxmlformats.org/officeDocument/2006/relationships/image" Target="../media/image9.svg"/><Relationship Id="rId20" Type="http://schemas.openxmlformats.org/officeDocument/2006/relationships/tags" Target="../tags/tag207.xml"/><Relationship Id="rId41" Type="http://schemas.openxmlformats.org/officeDocument/2006/relationships/tags" Target="../tags/tag228.xml"/></Relationships>
</file>

<file path=ppt/slides/_rels/slide9.xml.rels><?xml version="1.0" encoding="UTF-8" standalone="yes"?>
<Relationships xmlns="http://schemas.openxmlformats.org/package/2006/relationships"><Relationship Id="rId26" Type="http://schemas.openxmlformats.org/officeDocument/2006/relationships/tags" Target="../tags/tag254.xml"/><Relationship Id="rId21" Type="http://schemas.openxmlformats.org/officeDocument/2006/relationships/tags" Target="../tags/tag249.xml"/><Relationship Id="rId42" Type="http://schemas.openxmlformats.org/officeDocument/2006/relationships/tags" Target="../tags/tag270.xml"/><Relationship Id="rId47" Type="http://schemas.openxmlformats.org/officeDocument/2006/relationships/tags" Target="../tags/tag275.xml"/><Relationship Id="rId63" Type="http://schemas.openxmlformats.org/officeDocument/2006/relationships/tags" Target="../tags/tag291.xml"/><Relationship Id="rId68" Type="http://schemas.openxmlformats.org/officeDocument/2006/relationships/tags" Target="../tags/tag296.xml"/><Relationship Id="rId16" Type="http://schemas.openxmlformats.org/officeDocument/2006/relationships/tags" Target="../tags/tag24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tags" Target="../tags/tag268.xml"/><Relationship Id="rId45" Type="http://schemas.openxmlformats.org/officeDocument/2006/relationships/tags" Target="../tags/tag273.xml"/><Relationship Id="rId53" Type="http://schemas.openxmlformats.org/officeDocument/2006/relationships/tags" Target="../tags/tag281.xml"/><Relationship Id="rId58" Type="http://schemas.openxmlformats.org/officeDocument/2006/relationships/tags" Target="../tags/tag286.xml"/><Relationship Id="rId66" Type="http://schemas.openxmlformats.org/officeDocument/2006/relationships/tags" Target="../tags/tag294.xml"/><Relationship Id="rId74" Type="http://schemas.openxmlformats.org/officeDocument/2006/relationships/oleObject" Target="../embeddings/oleObject8.bin"/><Relationship Id="rId5" Type="http://schemas.openxmlformats.org/officeDocument/2006/relationships/tags" Target="../tags/tag233.xml"/><Relationship Id="rId61" Type="http://schemas.openxmlformats.org/officeDocument/2006/relationships/tags" Target="../tags/tag289.xml"/><Relationship Id="rId19" Type="http://schemas.openxmlformats.org/officeDocument/2006/relationships/tags" Target="../tags/tag24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tags" Target="../tags/tag271.xml"/><Relationship Id="rId48" Type="http://schemas.openxmlformats.org/officeDocument/2006/relationships/tags" Target="../tags/tag276.xml"/><Relationship Id="rId56" Type="http://schemas.openxmlformats.org/officeDocument/2006/relationships/tags" Target="../tags/tag284.xml"/><Relationship Id="rId64" Type="http://schemas.openxmlformats.org/officeDocument/2006/relationships/tags" Target="../tags/tag292.xml"/><Relationship Id="rId69" Type="http://schemas.openxmlformats.org/officeDocument/2006/relationships/tags" Target="../tags/tag297.xml"/><Relationship Id="rId77" Type="http://schemas.openxmlformats.org/officeDocument/2006/relationships/chart" Target="../charts/chart7.xml"/><Relationship Id="rId8" Type="http://schemas.openxmlformats.org/officeDocument/2006/relationships/tags" Target="../tags/tag236.xml"/><Relationship Id="rId51" Type="http://schemas.openxmlformats.org/officeDocument/2006/relationships/tags" Target="../tags/tag279.xml"/><Relationship Id="rId72" Type="http://schemas.openxmlformats.org/officeDocument/2006/relationships/slideLayout" Target="../slideLayouts/slideLayout2.xml"/><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tags" Target="../tags/tag274.xml"/><Relationship Id="rId59" Type="http://schemas.openxmlformats.org/officeDocument/2006/relationships/tags" Target="../tags/tag287.xml"/><Relationship Id="rId67" Type="http://schemas.openxmlformats.org/officeDocument/2006/relationships/tags" Target="../tags/tag295.xml"/><Relationship Id="rId20" Type="http://schemas.openxmlformats.org/officeDocument/2006/relationships/tags" Target="../tags/tag248.xml"/><Relationship Id="rId41" Type="http://schemas.openxmlformats.org/officeDocument/2006/relationships/tags" Target="../tags/tag269.xml"/><Relationship Id="rId54" Type="http://schemas.openxmlformats.org/officeDocument/2006/relationships/tags" Target="../tags/tag282.xml"/><Relationship Id="rId62" Type="http://schemas.openxmlformats.org/officeDocument/2006/relationships/tags" Target="../tags/tag290.xml"/><Relationship Id="rId70" Type="http://schemas.openxmlformats.org/officeDocument/2006/relationships/tags" Target="../tags/tag298.xml"/><Relationship Id="rId75" Type="http://schemas.openxmlformats.org/officeDocument/2006/relationships/image" Target="../media/image1.emf"/><Relationship Id="rId1" Type="http://schemas.openxmlformats.org/officeDocument/2006/relationships/tags" Target="../tags/tag229.xml"/><Relationship Id="rId6" Type="http://schemas.openxmlformats.org/officeDocument/2006/relationships/tags" Target="../tags/tag234.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49" Type="http://schemas.openxmlformats.org/officeDocument/2006/relationships/tags" Target="../tags/tag277.xml"/><Relationship Id="rId57" Type="http://schemas.openxmlformats.org/officeDocument/2006/relationships/tags" Target="../tags/tag285.xml"/><Relationship Id="rId10" Type="http://schemas.openxmlformats.org/officeDocument/2006/relationships/tags" Target="../tags/tag238.xml"/><Relationship Id="rId31" Type="http://schemas.openxmlformats.org/officeDocument/2006/relationships/tags" Target="../tags/tag259.xml"/><Relationship Id="rId44" Type="http://schemas.openxmlformats.org/officeDocument/2006/relationships/tags" Target="../tags/tag272.xml"/><Relationship Id="rId52" Type="http://schemas.openxmlformats.org/officeDocument/2006/relationships/tags" Target="../tags/tag280.xml"/><Relationship Id="rId60" Type="http://schemas.openxmlformats.org/officeDocument/2006/relationships/tags" Target="../tags/tag288.xml"/><Relationship Id="rId65" Type="http://schemas.openxmlformats.org/officeDocument/2006/relationships/tags" Target="../tags/tag293.xml"/><Relationship Id="rId73" Type="http://schemas.openxmlformats.org/officeDocument/2006/relationships/notesSlide" Target="../notesSlides/notesSlide7.xml"/><Relationship Id="rId4" Type="http://schemas.openxmlformats.org/officeDocument/2006/relationships/tags" Target="../tags/tag232.xml"/><Relationship Id="rId9" Type="http://schemas.openxmlformats.org/officeDocument/2006/relationships/tags" Target="../tags/tag237.xml"/><Relationship Id="rId13" Type="http://schemas.openxmlformats.org/officeDocument/2006/relationships/tags" Target="../tags/tag241.xml"/><Relationship Id="rId18" Type="http://schemas.openxmlformats.org/officeDocument/2006/relationships/tags" Target="../tags/tag246.xml"/><Relationship Id="rId39" Type="http://schemas.openxmlformats.org/officeDocument/2006/relationships/tags" Target="../tags/tag267.xml"/><Relationship Id="rId34" Type="http://schemas.openxmlformats.org/officeDocument/2006/relationships/tags" Target="../tags/tag262.xml"/><Relationship Id="rId50" Type="http://schemas.openxmlformats.org/officeDocument/2006/relationships/tags" Target="../tags/tag278.xml"/><Relationship Id="rId55" Type="http://schemas.openxmlformats.org/officeDocument/2006/relationships/tags" Target="../tags/tag283.xml"/><Relationship Id="rId76" Type="http://schemas.openxmlformats.org/officeDocument/2006/relationships/image" Target="../media/image9.svg"/><Relationship Id="rId7" Type="http://schemas.openxmlformats.org/officeDocument/2006/relationships/tags" Target="../tags/tag235.xml"/><Relationship Id="rId71" Type="http://schemas.openxmlformats.org/officeDocument/2006/relationships/tags" Target="../tags/tag299.xml"/><Relationship Id="rId2" Type="http://schemas.openxmlformats.org/officeDocument/2006/relationships/tags" Target="../tags/tag230.xml"/><Relationship Id="rId29" Type="http://schemas.openxmlformats.org/officeDocument/2006/relationships/tags" Target="../tags/tag2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9200" y="911456"/>
            <a:ext cx="8061691" cy="646331"/>
          </a:xfrm>
          <a:prstGeom prst="rect">
            <a:avLst/>
          </a:prstGeom>
          <a:noFill/>
        </p:spPr>
        <p:txBody>
          <a:bodyPr wrap="square" rtlCol="0">
            <a:spAutoFit/>
          </a:bodyPr>
          <a:lstStyle/>
          <a:p>
            <a:r>
              <a:rPr lang="en-GB" sz="3600" b="1">
                <a:solidFill>
                  <a:schemeClr val="bg1"/>
                </a:solidFill>
                <a:latin typeface="Arial" panose="020B0604020202020204" pitchFamily="34" charset="0"/>
                <a:cs typeface="Arial" panose="020B0604020202020204" pitchFamily="34" charset="0"/>
              </a:rPr>
              <a:t>UK Out of Home Revenue </a:t>
            </a:r>
          </a:p>
        </p:txBody>
      </p:sp>
      <p:pic>
        <p:nvPicPr>
          <p:cNvPr id="6" name="Picture 5" descr="A black and white logo&#10;&#10;AI-generated content may be incorrect.">
            <a:extLst>
              <a:ext uri="{FF2B5EF4-FFF2-40B4-BE49-F238E27FC236}">
                <a16:creationId xmlns:a16="http://schemas.microsoft.com/office/drawing/2014/main" id="{1F38655D-8584-0A82-9801-C290BCE6D4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20297" y="5959476"/>
            <a:ext cx="926104" cy="613545"/>
          </a:xfrm>
          <a:prstGeom prst="rect">
            <a:avLst/>
          </a:prstGeom>
        </p:spPr>
      </p:pic>
    </p:spTree>
    <p:extLst>
      <p:ext uri="{BB962C8B-B14F-4D97-AF65-F5344CB8AC3E}">
        <p14:creationId xmlns:p14="http://schemas.microsoft.com/office/powerpoint/2010/main" val="3274681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150" y="408720"/>
            <a:ext cx="11328400" cy="610455"/>
          </a:xfrm>
        </p:spPr>
        <p:txBody>
          <a:bodyPr/>
          <a:lstStyle/>
          <a:p>
            <a:r>
              <a:rPr lang="en-GB" altLang="en-US" sz="2200"/>
              <a:t>Disclaimer </a:t>
            </a:r>
          </a:p>
        </p:txBody>
      </p:sp>
      <p:sp>
        <p:nvSpPr>
          <p:cNvPr id="7" name="Subtitle 2"/>
          <p:cNvSpPr txBox="1">
            <a:spLocks/>
          </p:cNvSpPr>
          <p:nvPr/>
        </p:nvSpPr>
        <p:spPr>
          <a:xfrm>
            <a:off x="438150" y="2210593"/>
            <a:ext cx="11170270" cy="3200400"/>
          </a:xfrm>
          <a:prstGeom prst="rect">
            <a:avLst/>
          </a:prstGeom>
        </p:spPr>
        <p:txBody>
          <a:bodyPr vert="horz" lIns="0" tIns="0" rIns="0" bIns="0" numCol="1" spcCol="360000" rtlCol="0">
            <a:noAutofit/>
          </a:bodyPr>
          <a:lstStyle>
            <a:lvl1pPr marL="0" indent="0" algn="l" defTabSz="914400" rtl="0" eaLnBrk="1" latinLnBrk="0" hangingPunct="1">
              <a:spcBef>
                <a:spcPts val="15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5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57188" indent="-17780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33400"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a:lnSpc>
                <a:spcPct val="150000"/>
              </a:lnSpc>
            </a:pPr>
            <a:r>
              <a:rPr lang="en-GB" b="0" i="1">
                <a:latin typeface="+mn-lt"/>
              </a:rPr>
              <a:t>Outsmart has retained PricewaterhouseCoopers LLP (the UK firm) (‘PwC’) to compile the OOH industry revenue figures collected from its members and to deliver to Outsmart the </a:t>
            </a:r>
            <a:r>
              <a:rPr lang="en-GB" b="0" i="1" err="1">
                <a:latin typeface="+mn-lt"/>
              </a:rPr>
              <a:t>topline</a:t>
            </a:r>
            <a:r>
              <a:rPr lang="en-GB" b="0" i="1">
                <a:latin typeface="+mn-lt"/>
              </a:rPr>
              <a:t> figures collated from this review; PwC has not verified the information which it received from respondents, and provides no opinion or other form of assurance with respect to such information.</a:t>
            </a:r>
          </a:p>
          <a:p>
            <a:pPr>
              <a:lnSpc>
                <a:spcPct val="150000"/>
              </a:lnSpc>
            </a:pPr>
            <a:r>
              <a:rPr lang="en-GB" b="0" i="1">
                <a:latin typeface="+mn-lt"/>
              </a:rPr>
              <a:t>This publication has been prepared for general guidance on matters of interest only, and does not constitute professional advice. You should not act upon the information contained in this publication without obtaining specific professional advice. No representation or warranty (express or implied) is given as to the accuracy or completeness of the information contained in this publication, and, to the extent permitted by law, neither Outsmart nor any of the contributors/ subcontractors accept or assume any liability, responsibility or duty of care for any consequences of you or anyone else acting, or refraining to act, in reliance on the information contained in this publication or for any decision based on it.</a:t>
            </a:r>
            <a:endParaRPr lang="en-GB" b="0">
              <a:latin typeface="+mn-lt"/>
            </a:endParaRPr>
          </a:p>
          <a:p>
            <a:pPr>
              <a:lnSpc>
                <a:spcPct val="150000"/>
              </a:lnSpc>
            </a:pPr>
            <a:endParaRPr lang="en-GB" sz="1600"/>
          </a:p>
        </p:txBody>
      </p:sp>
      <p:pic>
        <p:nvPicPr>
          <p:cNvPr id="3" name="Graphic 2">
            <a:extLst>
              <a:ext uri="{FF2B5EF4-FFF2-40B4-BE49-F238E27FC236}">
                <a16:creationId xmlns:a16="http://schemas.microsoft.com/office/drawing/2014/main" id="{C071486A-D3E6-4CF6-8448-1F067AC1CA5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1161188" y="6279305"/>
            <a:ext cx="605362" cy="294658"/>
          </a:xfrm>
          <a:prstGeom prst="rect">
            <a:avLst/>
          </a:prstGeom>
        </p:spPr>
      </p:pic>
    </p:spTree>
    <p:extLst>
      <p:ext uri="{BB962C8B-B14F-4D97-AF65-F5344CB8AC3E}">
        <p14:creationId xmlns:p14="http://schemas.microsoft.com/office/powerpoint/2010/main" val="706924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2766C-3369-306A-576A-37665C1E01A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57FC3F-C579-A3F8-CB7A-E42A56182EBA}"/>
              </a:ext>
            </a:extLst>
          </p:cNvPr>
          <p:cNvGraphicFramePr>
            <a:graphicFrameLocks/>
          </p:cNvGraphicFramePr>
          <p:nvPr>
            <p:custDataLst>
              <p:tags r:id="rId1"/>
            </p:custDataLst>
            <p:extLst>
              <p:ext uri="{D42A27DB-BD31-4B8C-83A1-F6EECF244321}">
                <p14:modId xmlns:p14="http://schemas.microsoft.com/office/powerpoint/2010/main" val="265976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95" imgH="394" progId="TCLayout.ActiveDocument.1">
                  <p:embed/>
                </p:oleObj>
              </mc:Choice>
              <mc:Fallback>
                <p:oleObj name="think-cell Slide" r:id="rId55" imgW="395" imgH="394" progId="TCLayout.ActiveDocument.1">
                  <p:embed/>
                  <p:pic>
                    <p:nvPicPr>
                      <p:cNvPr id="4" name="Object 3" hidden="1">
                        <a:extLst>
                          <a:ext uri="{FF2B5EF4-FFF2-40B4-BE49-F238E27FC236}">
                            <a16:creationId xmlns:a16="http://schemas.microsoft.com/office/drawing/2014/main" id="{7557FC3F-C579-A3F8-CB7A-E42A56182EBA}"/>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2CFAF05-8CD7-CE0D-44F7-0AF4D642E308}"/>
              </a:ext>
            </a:extLst>
          </p:cNvPr>
          <p:cNvSpPr>
            <a:spLocks noGrp="1"/>
          </p:cNvSpPr>
          <p:nvPr>
            <p:ph type="title"/>
          </p:nvPr>
        </p:nvSpPr>
        <p:spPr>
          <a:xfrm>
            <a:off x="438150" y="408720"/>
            <a:ext cx="11328400" cy="610455"/>
          </a:xfrm>
        </p:spPr>
        <p:txBody>
          <a:bodyPr vert="horz"/>
          <a:lstStyle/>
          <a:p>
            <a:r>
              <a:rPr lang="en-GB" altLang="en-US" sz="2200" dirty="0"/>
              <a:t>UK Out of Home Advertising Revenue</a:t>
            </a:r>
          </a:p>
        </p:txBody>
      </p:sp>
      <p:sp>
        <p:nvSpPr>
          <p:cNvPr id="5" name="Title 1">
            <a:extLst>
              <a:ext uri="{FF2B5EF4-FFF2-40B4-BE49-F238E27FC236}">
                <a16:creationId xmlns:a16="http://schemas.microsoft.com/office/drawing/2014/main" id="{E96D2512-C9FC-28CF-20B9-5622A201DC7A}"/>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716DD826-31AB-EFC3-C6A4-CA94A67C47A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7"/>
              </a:ext>
            </a:extLst>
          </a:blip>
          <a:stretch>
            <a:fillRect/>
          </a:stretch>
        </p:blipFill>
        <p:spPr>
          <a:xfrm>
            <a:off x="11161188" y="6279305"/>
            <a:ext cx="605362" cy="294658"/>
          </a:xfrm>
          <a:prstGeom prst="rect">
            <a:avLst/>
          </a:prstGeom>
        </p:spPr>
      </p:pic>
      <p:cxnSp>
        <p:nvCxnSpPr>
          <p:cNvPr id="230" name="Straight Connector 229">
            <a:extLst>
              <a:ext uri="{FF2B5EF4-FFF2-40B4-BE49-F238E27FC236}">
                <a16:creationId xmlns:a16="http://schemas.microsoft.com/office/drawing/2014/main" id="{91216262-A01E-5BBB-DD90-879F8F3FBA18}"/>
              </a:ext>
            </a:extLst>
          </p:cNvPr>
          <p:cNvCxnSpPr/>
          <p:nvPr>
            <p:custDataLst>
              <p:tags r:id="rId2"/>
            </p:custDataLst>
          </p:nvPr>
        </p:nvCxnSpPr>
        <p:spPr bwMode="gray">
          <a:xfrm>
            <a:off x="1081088" y="4217988"/>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254364F0-85C0-9CF5-7A5F-5EB36101CB88}"/>
              </a:ext>
            </a:extLst>
          </p:cNvPr>
          <p:cNvCxnSpPr/>
          <p:nvPr>
            <p:custDataLst>
              <p:tags r:id="rId3"/>
            </p:custDataLst>
          </p:nvPr>
        </p:nvCxnSpPr>
        <p:spPr bwMode="gray">
          <a:xfrm>
            <a:off x="1081088" y="5218113"/>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337A4BF6-E553-7402-8B83-95FFCE853480}"/>
              </a:ext>
            </a:extLst>
          </p:cNvPr>
          <p:cNvCxnSpPr/>
          <p:nvPr>
            <p:custDataLst>
              <p:tags r:id="rId4"/>
            </p:custDataLst>
          </p:nvPr>
        </p:nvCxnSpPr>
        <p:spPr bwMode="gray">
          <a:xfrm>
            <a:off x="1081088" y="4718050"/>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62107361-2DCC-EE44-5A75-1DC4ABAA4332}"/>
              </a:ext>
            </a:extLst>
          </p:cNvPr>
          <p:cNvCxnSpPr/>
          <p:nvPr>
            <p:custDataLst>
              <p:tags r:id="rId5"/>
            </p:custDataLst>
          </p:nvPr>
        </p:nvCxnSpPr>
        <p:spPr bwMode="gray">
          <a:xfrm>
            <a:off x="1081088" y="2719388"/>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143D0A43-AA81-6D7B-7786-B41351B91639}"/>
              </a:ext>
            </a:extLst>
          </p:cNvPr>
          <p:cNvCxnSpPr/>
          <p:nvPr>
            <p:custDataLst>
              <p:tags r:id="rId6"/>
            </p:custDataLst>
          </p:nvPr>
        </p:nvCxnSpPr>
        <p:spPr bwMode="gray">
          <a:xfrm>
            <a:off x="1081088" y="3719513"/>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F3982AAF-C531-52BE-921C-BA204807EA7C}"/>
              </a:ext>
            </a:extLst>
          </p:cNvPr>
          <p:cNvCxnSpPr/>
          <p:nvPr>
            <p:custDataLst>
              <p:tags r:id="rId7"/>
            </p:custDataLst>
          </p:nvPr>
        </p:nvCxnSpPr>
        <p:spPr bwMode="gray">
          <a:xfrm>
            <a:off x="1081088" y="3219450"/>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E674365E-1141-D02B-667D-BCA86FBB3816}"/>
              </a:ext>
            </a:extLst>
          </p:cNvPr>
          <p:cNvCxnSpPr/>
          <p:nvPr>
            <p:custDataLst>
              <p:tags r:id="rId8"/>
            </p:custDataLst>
          </p:nvPr>
        </p:nvCxnSpPr>
        <p:spPr bwMode="gray">
          <a:xfrm>
            <a:off x="1081088" y="2219325"/>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A9742B8-A9AB-1A96-9957-D74CE53B2C02}"/>
              </a:ext>
            </a:extLst>
          </p:cNvPr>
          <p:cNvCxnSpPr/>
          <p:nvPr>
            <p:custDataLst>
              <p:tags r:id="rId9"/>
            </p:custDataLst>
          </p:nvPr>
        </p:nvCxnSpPr>
        <p:spPr bwMode="gray">
          <a:xfrm>
            <a:off x="1081088" y="1719263"/>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7" name="Chart 36">
            <a:extLst>
              <a:ext uri="{FF2B5EF4-FFF2-40B4-BE49-F238E27FC236}">
                <a16:creationId xmlns:a16="http://schemas.microsoft.com/office/drawing/2014/main" id="{66DC9F53-742E-994A-AC98-64BA32F9C210}"/>
              </a:ext>
            </a:extLst>
          </p:cNvPr>
          <p:cNvGraphicFramePr/>
          <p:nvPr>
            <p:custDataLst>
              <p:tags r:id="rId10"/>
            </p:custDataLst>
            <p:extLst>
              <p:ext uri="{D42A27DB-BD31-4B8C-83A1-F6EECF244321}">
                <p14:modId xmlns:p14="http://schemas.microsoft.com/office/powerpoint/2010/main" val="1461396598"/>
              </p:ext>
            </p:extLst>
          </p:nvPr>
        </p:nvGraphicFramePr>
        <p:xfrm>
          <a:off x="998538" y="1636713"/>
          <a:ext cx="10850562" cy="4164012"/>
        </p:xfrm>
        <a:graphic>
          <a:graphicData uri="http://schemas.openxmlformats.org/drawingml/2006/chart">
            <c:chart xmlns:c="http://schemas.openxmlformats.org/drawingml/2006/chart" xmlns:r="http://schemas.openxmlformats.org/officeDocument/2006/relationships" r:id="rId58"/>
          </a:graphicData>
        </a:graphic>
      </p:graphicFrame>
      <p:sp>
        <p:nvSpPr>
          <p:cNvPr id="56" name="Text Placeholder 2">
            <a:extLst>
              <a:ext uri="{FF2B5EF4-FFF2-40B4-BE49-F238E27FC236}">
                <a16:creationId xmlns:a16="http://schemas.microsoft.com/office/drawing/2014/main" id="{87225731-19F2-198A-F0E1-ED020BEF7195}"/>
              </a:ext>
            </a:extLst>
          </p:cNvPr>
          <p:cNvSpPr>
            <a:spLocks/>
          </p:cNvSpPr>
          <p:nvPr>
            <p:custDataLst>
              <p:tags r:id="rId11"/>
            </p:custDataLst>
          </p:nvPr>
        </p:nvSpPr>
        <p:spPr bwMode="gray">
          <a:xfrm>
            <a:off x="712788" y="5149850"/>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DE5D6CC3-1AA9-4819-9DDD-04AAC271B7A4}" type="datetime'2''''''''''''''''''''''''''''''''''''''''''''''0''0'''''''''''">
              <a:rPr lang="en-GB" altLang="en-US" sz="900" b="0" smtClean="0">
                <a:solidFill>
                  <a:srgbClr val="ACAEB1"/>
                </a:solidFill>
                <a:latin typeface="Century Schoolbook (Body)"/>
                <a:sym typeface="Century Schoolbook (Body)"/>
              </a:rPr>
              <a:pPr/>
              <a:t>200</a:t>
            </a:fld>
            <a:endParaRPr lang="en-GB" sz="900" b="0" dirty="0">
              <a:solidFill>
                <a:srgbClr val="ACAEB1"/>
              </a:solidFill>
              <a:latin typeface="Century Schoolbook (Body)"/>
              <a:sym typeface="Century Schoolbook (Body)"/>
            </a:endParaRPr>
          </a:p>
        </p:txBody>
      </p:sp>
      <p:sp>
        <p:nvSpPr>
          <p:cNvPr id="58" name="Text Placeholder 2">
            <a:extLst>
              <a:ext uri="{FF2B5EF4-FFF2-40B4-BE49-F238E27FC236}">
                <a16:creationId xmlns:a16="http://schemas.microsoft.com/office/drawing/2014/main" id="{7CF76773-7B1F-EA1E-2BC3-1A077E1DFDC8}"/>
              </a:ext>
            </a:extLst>
          </p:cNvPr>
          <p:cNvSpPr>
            <a:spLocks/>
          </p:cNvSpPr>
          <p:nvPr>
            <p:custDataLst>
              <p:tags r:id="rId12"/>
            </p:custDataLst>
          </p:nvPr>
        </p:nvSpPr>
        <p:spPr bwMode="gray">
          <a:xfrm>
            <a:off x="712788" y="4649788"/>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99071B15-1075-4081-8BC3-4B9E72CBC63C}" type="datetime'''''''''''''''''4''''''''''''''00'''''''''''''''''''''">
              <a:rPr lang="en-GB" altLang="en-US" sz="900" b="0" smtClean="0">
                <a:solidFill>
                  <a:srgbClr val="ACAEB1"/>
                </a:solidFill>
                <a:latin typeface="Century Schoolbook (Body)"/>
                <a:sym typeface="Century Schoolbook (Body)"/>
              </a:rPr>
              <a:pPr/>
              <a:t>400</a:t>
            </a:fld>
            <a:endParaRPr lang="en-GB" sz="900" b="0" dirty="0">
              <a:solidFill>
                <a:srgbClr val="ACAEB1"/>
              </a:solidFill>
              <a:latin typeface="Century Schoolbook (Body)"/>
              <a:sym typeface="Century Schoolbook (Body)"/>
            </a:endParaRPr>
          </a:p>
        </p:txBody>
      </p:sp>
      <p:sp>
        <p:nvSpPr>
          <p:cNvPr id="60" name="Text Placeholder 2">
            <a:extLst>
              <a:ext uri="{FF2B5EF4-FFF2-40B4-BE49-F238E27FC236}">
                <a16:creationId xmlns:a16="http://schemas.microsoft.com/office/drawing/2014/main" id="{D7FFF20B-1E78-C3B5-441A-FB0A76B9FDA1}"/>
              </a:ext>
            </a:extLst>
          </p:cNvPr>
          <p:cNvSpPr>
            <a:spLocks/>
          </p:cNvSpPr>
          <p:nvPr>
            <p:custDataLst>
              <p:tags r:id="rId13"/>
            </p:custDataLst>
          </p:nvPr>
        </p:nvSpPr>
        <p:spPr bwMode="gray">
          <a:xfrm>
            <a:off x="712788" y="4149725"/>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A1CDF6E7-6E68-4649-B2BA-E7D4D538FCE9}" type="datetime'6''''''''''''0''''''''''''''''''''''''0'''''''''''''">
              <a:rPr lang="en-GB" altLang="en-US" sz="900" b="0" smtClean="0">
                <a:solidFill>
                  <a:srgbClr val="ACAEB1"/>
                </a:solidFill>
                <a:latin typeface="Century Schoolbook (Body)"/>
                <a:sym typeface="Century Schoolbook (Body)"/>
              </a:rPr>
              <a:pPr/>
              <a:t>600</a:t>
            </a:fld>
            <a:endParaRPr lang="en-GB" sz="900" b="0" dirty="0">
              <a:solidFill>
                <a:srgbClr val="ACAEB1"/>
              </a:solidFill>
              <a:latin typeface="Century Schoolbook (Body)"/>
              <a:sym typeface="Century Schoolbook (Body)"/>
            </a:endParaRPr>
          </a:p>
        </p:txBody>
      </p:sp>
      <p:sp>
        <p:nvSpPr>
          <p:cNvPr id="62" name="Text Placeholder 2">
            <a:extLst>
              <a:ext uri="{FF2B5EF4-FFF2-40B4-BE49-F238E27FC236}">
                <a16:creationId xmlns:a16="http://schemas.microsoft.com/office/drawing/2014/main" id="{C19C67C1-33C9-87D3-8759-1396804F57A6}"/>
              </a:ext>
            </a:extLst>
          </p:cNvPr>
          <p:cNvSpPr>
            <a:spLocks/>
          </p:cNvSpPr>
          <p:nvPr>
            <p:custDataLst>
              <p:tags r:id="rId14"/>
            </p:custDataLst>
          </p:nvPr>
        </p:nvSpPr>
        <p:spPr bwMode="gray">
          <a:xfrm>
            <a:off x="712788" y="3651250"/>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A33D725F-C5AB-4037-9857-8346F759B034}" type="datetime'''''''''''8''''0''''''''''''''''0'''''''''">
              <a:rPr lang="en-GB" altLang="en-US" sz="900" b="0" smtClean="0">
                <a:solidFill>
                  <a:srgbClr val="ACAEB1"/>
                </a:solidFill>
                <a:latin typeface="Century Schoolbook (Body)"/>
                <a:sym typeface="Century Schoolbook (Body)"/>
              </a:rPr>
              <a:pPr/>
              <a:t>800</a:t>
            </a:fld>
            <a:endParaRPr lang="en-GB" sz="900" b="0" dirty="0">
              <a:solidFill>
                <a:srgbClr val="ACAEB1"/>
              </a:solidFill>
              <a:latin typeface="Century Schoolbook (Body)"/>
              <a:sym typeface="Century Schoolbook (Body)"/>
            </a:endParaRPr>
          </a:p>
        </p:txBody>
      </p:sp>
      <p:sp>
        <p:nvSpPr>
          <p:cNvPr id="64" name="Text Placeholder 2">
            <a:extLst>
              <a:ext uri="{FF2B5EF4-FFF2-40B4-BE49-F238E27FC236}">
                <a16:creationId xmlns:a16="http://schemas.microsoft.com/office/drawing/2014/main" id="{BFB0CBAC-04F7-9C0D-E1FB-41D2B8EC1705}"/>
              </a:ext>
            </a:extLst>
          </p:cNvPr>
          <p:cNvSpPr>
            <a:spLocks/>
          </p:cNvSpPr>
          <p:nvPr>
            <p:custDataLst>
              <p:tags r:id="rId15"/>
            </p:custDataLst>
          </p:nvPr>
        </p:nvSpPr>
        <p:spPr bwMode="gray">
          <a:xfrm>
            <a:off x="617538" y="315118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773682E9-6CBF-479B-8BA8-8C4FFFDF3C8E}" type="datetime'''''1,''''''''0''''''''''''''''''''''''''''''''''00'''''''''">
              <a:rPr lang="en-GB" altLang="en-US" sz="900" b="0" smtClean="0">
                <a:solidFill>
                  <a:srgbClr val="ACAEB1"/>
                </a:solidFill>
                <a:latin typeface="Century Schoolbook (Body)"/>
                <a:sym typeface="Century Schoolbook (Body)"/>
              </a:rPr>
              <a:pPr/>
              <a:t>1,000</a:t>
            </a:fld>
            <a:endParaRPr lang="en-GB" sz="900" b="0" dirty="0">
              <a:solidFill>
                <a:srgbClr val="ACAEB1"/>
              </a:solidFill>
              <a:latin typeface="Century Schoolbook (Body)"/>
              <a:sym typeface="Century Schoolbook (Body)"/>
            </a:endParaRPr>
          </a:p>
        </p:txBody>
      </p:sp>
      <p:sp>
        <p:nvSpPr>
          <p:cNvPr id="66" name="Text Placeholder 2">
            <a:extLst>
              <a:ext uri="{FF2B5EF4-FFF2-40B4-BE49-F238E27FC236}">
                <a16:creationId xmlns:a16="http://schemas.microsoft.com/office/drawing/2014/main" id="{B1B72C67-CD10-4428-3F43-07C84C1E44BD}"/>
              </a:ext>
            </a:extLst>
          </p:cNvPr>
          <p:cNvSpPr>
            <a:spLocks/>
          </p:cNvSpPr>
          <p:nvPr>
            <p:custDataLst>
              <p:tags r:id="rId16"/>
            </p:custDataLst>
          </p:nvPr>
        </p:nvSpPr>
        <p:spPr bwMode="gray">
          <a:xfrm>
            <a:off x="617538" y="265112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1BA669BB-2CAC-4343-A7FE-4CE288DBFF70}" type="datetime'''''''''''''''1,''2''''''''''''''''''''''''0''''''''''''0'''''">
              <a:rPr lang="en-GB" altLang="en-US" sz="900" b="0" smtClean="0">
                <a:solidFill>
                  <a:srgbClr val="ACAEB1"/>
                </a:solidFill>
                <a:latin typeface="Century Schoolbook (Body)"/>
                <a:sym typeface="Century Schoolbook (Body)"/>
              </a:rPr>
              <a:pPr/>
              <a:t>1,200</a:t>
            </a:fld>
            <a:endParaRPr lang="en-GB" sz="900" b="0" dirty="0">
              <a:solidFill>
                <a:srgbClr val="ACAEB1"/>
              </a:solidFill>
              <a:latin typeface="Century Schoolbook (Body)"/>
              <a:sym typeface="Century Schoolbook (Body)"/>
            </a:endParaRPr>
          </a:p>
        </p:txBody>
      </p:sp>
      <p:sp>
        <p:nvSpPr>
          <p:cNvPr id="54" name="Text Placeholder 2">
            <a:extLst>
              <a:ext uri="{FF2B5EF4-FFF2-40B4-BE49-F238E27FC236}">
                <a16:creationId xmlns:a16="http://schemas.microsoft.com/office/drawing/2014/main" id="{819DA0A1-275D-34BC-2323-3047CCA4F7F5}"/>
              </a:ext>
            </a:extLst>
          </p:cNvPr>
          <p:cNvSpPr>
            <a:spLocks/>
          </p:cNvSpPr>
          <p:nvPr>
            <p:custDataLst>
              <p:tags r:id="rId17"/>
            </p:custDataLst>
          </p:nvPr>
        </p:nvSpPr>
        <p:spPr bwMode="gray">
          <a:xfrm>
            <a:off x="903288" y="5649913"/>
            <a:ext cx="6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414C1869-6386-43A0-A57E-44451C4E6831}" type="datetime'''''''''''''''''''''''''''''''''''''''''''''''''0'">
              <a:rPr lang="en-GB" altLang="en-US" sz="900" b="0" smtClean="0">
                <a:solidFill>
                  <a:srgbClr val="ACAEB1"/>
                </a:solidFill>
                <a:latin typeface="Century Schoolbook (Body)"/>
                <a:sym typeface="Century Schoolbook (Body)"/>
              </a:rPr>
              <a:pPr/>
              <a:t>0</a:t>
            </a:fld>
            <a:endParaRPr lang="en-GB" sz="900" b="0" dirty="0">
              <a:solidFill>
                <a:srgbClr val="ACAEB1"/>
              </a:solidFill>
              <a:latin typeface="Century Schoolbook (Body)"/>
              <a:sym typeface="Century Schoolbook (Body)"/>
            </a:endParaRPr>
          </a:p>
        </p:txBody>
      </p:sp>
      <p:sp>
        <p:nvSpPr>
          <p:cNvPr id="68" name="Text Placeholder 2">
            <a:extLst>
              <a:ext uri="{FF2B5EF4-FFF2-40B4-BE49-F238E27FC236}">
                <a16:creationId xmlns:a16="http://schemas.microsoft.com/office/drawing/2014/main" id="{21C3EEE9-1DFE-E0E9-B876-929918B8E05B}"/>
              </a:ext>
            </a:extLst>
          </p:cNvPr>
          <p:cNvSpPr>
            <a:spLocks/>
          </p:cNvSpPr>
          <p:nvPr>
            <p:custDataLst>
              <p:tags r:id="rId18"/>
            </p:custDataLst>
          </p:nvPr>
        </p:nvSpPr>
        <p:spPr bwMode="gray">
          <a:xfrm>
            <a:off x="617538" y="21510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r>
              <a:rPr lang="en-GB" altLang="en-US" sz="900" b="0" dirty="0">
                <a:solidFill>
                  <a:srgbClr val="ACAEB1"/>
                </a:solidFill>
                <a:latin typeface="Century Schoolbook (Body)"/>
                <a:sym typeface="Century Schoolbook (Body)"/>
              </a:rPr>
              <a:t>£</a:t>
            </a:r>
            <a:fld id="{24B52FAC-3485-4331-96E9-8B5909EAB9F5}" type="datetime'''1'''''''''''',4''''''''''''''''''0''''''''0'''''''''''''''''">
              <a:rPr lang="en-GB" altLang="en-US" sz="900" b="0" smtClean="0">
                <a:solidFill>
                  <a:srgbClr val="ACAEB1"/>
                </a:solidFill>
                <a:latin typeface="Century Schoolbook (Body)"/>
                <a:sym typeface="Century Schoolbook (Body)"/>
              </a:rPr>
              <a:pPr/>
              <a:t>1,400</a:t>
            </a:fld>
            <a:endParaRPr lang="en-GB" sz="900" b="0" dirty="0">
              <a:solidFill>
                <a:srgbClr val="ACAEB1"/>
              </a:solidFill>
              <a:latin typeface="Century Schoolbook (Body)"/>
              <a:sym typeface="Century Schoolbook (Body)"/>
            </a:endParaRPr>
          </a:p>
        </p:txBody>
      </p:sp>
      <p:sp>
        <p:nvSpPr>
          <p:cNvPr id="19" name="Text Placeholder 2">
            <a:extLst>
              <a:ext uri="{FF2B5EF4-FFF2-40B4-BE49-F238E27FC236}">
                <a16:creationId xmlns:a16="http://schemas.microsoft.com/office/drawing/2014/main" id="{B7C06206-E360-540F-E18C-A76E7E651C49}"/>
              </a:ext>
            </a:extLst>
          </p:cNvPr>
          <p:cNvSpPr>
            <a:spLocks/>
          </p:cNvSpPr>
          <p:nvPr>
            <p:custDataLst>
              <p:tags r:id="rId19"/>
            </p:custDataLst>
          </p:nvPr>
        </p:nvSpPr>
        <p:spPr bwMode="gray">
          <a:xfrm>
            <a:off x="681038" y="1651001"/>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47CB9F02-3736-417E-B0BF-B06E6AF2FEDE}" type="datetime'''''''''''''''''1'',''''''6''0''0'''''''''''''''''">
              <a:rPr lang="en-GB" altLang="en-US" sz="900" b="0" smtClean="0">
                <a:solidFill>
                  <a:srgbClr val="ACAEB1"/>
                </a:solidFill>
                <a:effectLst/>
                <a:latin typeface="Century Schoolbook (Body)"/>
              </a:rPr>
              <a:pPr lvl="0" algn="r">
                <a:spcBef>
                  <a:spcPct val="0"/>
                </a:spcBef>
                <a:spcAft>
                  <a:spcPct val="0"/>
                </a:spcAft>
              </a:pPr>
              <a:t>1,600</a:t>
            </a:fld>
            <a:endParaRPr lang="en-GB" sz="900" b="0" dirty="0">
              <a:solidFill>
                <a:srgbClr val="ACAEB1"/>
              </a:solidFill>
              <a:latin typeface="Century Schoolbook (Body)"/>
            </a:endParaRPr>
          </a:p>
        </p:txBody>
      </p:sp>
      <p:sp>
        <p:nvSpPr>
          <p:cNvPr id="10" name="Text Placeholder 2">
            <a:extLst>
              <a:ext uri="{FF2B5EF4-FFF2-40B4-BE49-F238E27FC236}">
                <a16:creationId xmlns:a16="http://schemas.microsoft.com/office/drawing/2014/main" id="{EE1712F4-53CB-6D1A-96D8-0882E887AFDF}"/>
              </a:ext>
            </a:extLst>
          </p:cNvPr>
          <p:cNvSpPr>
            <a:spLocks/>
          </p:cNvSpPr>
          <p:nvPr>
            <p:custDataLst>
              <p:tags r:id="rId20"/>
            </p:custDataLst>
          </p:nvPr>
        </p:nvSpPr>
        <p:spPr bwMode="auto">
          <a:xfrm>
            <a:off x="2616200"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6CA05AE-7000-4089-84E5-1CAA9D9E3C44}" type="datetime'2''''''''''''''''''''''''''''''''''''0''''12'''''''''''''''">
              <a:rPr lang="en-GB" altLang="en-US" sz="900" b="0" smtClean="0">
                <a:solidFill>
                  <a:srgbClr val="ACAEB1"/>
                </a:solidFill>
                <a:latin typeface="Century Schoolbook (Body)"/>
                <a:sym typeface="Century Schoolbook (Body)"/>
              </a:rPr>
              <a:pPr/>
              <a:t>2012</a:t>
            </a:fld>
            <a:endParaRPr lang="en-GB" sz="900" b="0" dirty="0">
              <a:solidFill>
                <a:srgbClr val="ACAEB1"/>
              </a:solidFill>
              <a:latin typeface="Century Schoolbook (Body)"/>
              <a:sym typeface="Century Schoolbook (Body)"/>
            </a:endParaRPr>
          </a:p>
        </p:txBody>
      </p:sp>
      <p:sp>
        <p:nvSpPr>
          <p:cNvPr id="21" name="Text Placeholder 2">
            <a:extLst>
              <a:ext uri="{FF2B5EF4-FFF2-40B4-BE49-F238E27FC236}">
                <a16:creationId xmlns:a16="http://schemas.microsoft.com/office/drawing/2014/main" id="{D726B0E7-55B5-2C67-ED9F-600CE46AA8D7}"/>
              </a:ext>
            </a:extLst>
          </p:cNvPr>
          <p:cNvSpPr>
            <a:spLocks/>
          </p:cNvSpPr>
          <p:nvPr>
            <p:custDataLst>
              <p:tags r:id="rId21"/>
            </p:custDataLst>
          </p:nvPr>
        </p:nvSpPr>
        <p:spPr bwMode="auto">
          <a:xfrm>
            <a:off x="3284538"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AD50D7A-7335-4028-8E96-595253C91BA0}" type="datetime'''''''''2''''0''13'''''''''''''''''''''''''''''''''''''">
              <a:rPr lang="en-GB" altLang="en-US" sz="900" b="0" smtClean="0">
                <a:solidFill>
                  <a:srgbClr val="ACAEB1"/>
                </a:solidFill>
                <a:latin typeface="Century Schoolbook (Body)"/>
                <a:sym typeface="Century Schoolbook (Body)"/>
              </a:rPr>
              <a:pPr/>
              <a:t>2013</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B4482393-4FA6-4110-EDCC-E8BD44C0934E}"/>
              </a:ext>
            </a:extLst>
          </p:cNvPr>
          <p:cNvSpPr>
            <a:spLocks/>
          </p:cNvSpPr>
          <p:nvPr>
            <p:custDataLst>
              <p:tags r:id="rId22"/>
            </p:custDataLst>
          </p:nvPr>
        </p:nvSpPr>
        <p:spPr bwMode="auto">
          <a:xfrm>
            <a:off x="3952875"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78395DC-DCC2-45EB-85EE-9EFE8F7629B1}" type="datetime'''''''''''''''''''2''''''''''''01''''''4'''''''''''''">
              <a:rPr lang="en-GB" altLang="en-US" sz="900" b="0" smtClean="0">
                <a:solidFill>
                  <a:srgbClr val="ACAEB1"/>
                </a:solidFill>
                <a:latin typeface="Century Schoolbook (Body)"/>
                <a:sym typeface="Century Schoolbook (Body)"/>
              </a:rPr>
              <a:pPr/>
              <a:t>2014</a:t>
            </a:fld>
            <a:endParaRPr lang="en-GB" sz="900" b="0" dirty="0">
              <a:solidFill>
                <a:srgbClr val="ACAEB1"/>
              </a:solidFill>
              <a:latin typeface="Century Schoolbook (Body)"/>
              <a:sym typeface="Century Schoolbook (Body)"/>
            </a:endParaRPr>
          </a:p>
        </p:txBody>
      </p:sp>
      <p:sp>
        <p:nvSpPr>
          <p:cNvPr id="23" name="Text Placeholder 2">
            <a:extLst>
              <a:ext uri="{FF2B5EF4-FFF2-40B4-BE49-F238E27FC236}">
                <a16:creationId xmlns:a16="http://schemas.microsoft.com/office/drawing/2014/main" id="{B147A8F5-5135-C907-2A3A-4ADBD71A5A88}"/>
              </a:ext>
            </a:extLst>
          </p:cNvPr>
          <p:cNvSpPr>
            <a:spLocks/>
          </p:cNvSpPr>
          <p:nvPr>
            <p:custDataLst>
              <p:tags r:id="rId23"/>
            </p:custDataLst>
          </p:nvPr>
        </p:nvSpPr>
        <p:spPr bwMode="auto">
          <a:xfrm>
            <a:off x="4619625"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AC8A59C-63F1-46CA-82AE-3E144527C542}" type="datetime'''''''''2''''0''''''''''''''1''5'''''''''''''">
              <a:rPr lang="en-GB" altLang="en-US" sz="900" b="0" smtClean="0">
                <a:solidFill>
                  <a:srgbClr val="ACAEB1"/>
                </a:solidFill>
                <a:latin typeface="Century Schoolbook (Body)"/>
                <a:sym typeface="Century Schoolbook (Body)"/>
              </a:rPr>
              <a:pPr/>
              <a:t>2015</a:t>
            </a:fld>
            <a:endParaRPr lang="en-GB" sz="900" b="0" dirty="0">
              <a:solidFill>
                <a:srgbClr val="ACAEB1"/>
              </a:solidFill>
              <a:latin typeface="Century Schoolbook (Body)"/>
              <a:sym typeface="Century Schoolbook (Body)"/>
            </a:endParaRPr>
          </a:p>
        </p:txBody>
      </p:sp>
      <p:sp>
        <p:nvSpPr>
          <p:cNvPr id="24" name="Text Placeholder 2">
            <a:extLst>
              <a:ext uri="{FF2B5EF4-FFF2-40B4-BE49-F238E27FC236}">
                <a16:creationId xmlns:a16="http://schemas.microsoft.com/office/drawing/2014/main" id="{ACCD8E99-41ED-1AC5-6E0D-D6EA23145C0F}"/>
              </a:ext>
            </a:extLst>
          </p:cNvPr>
          <p:cNvSpPr>
            <a:spLocks/>
          </p:cNvSpPr>
          <p:nvPr>
            <p:custDataLst>
              <p:tags r:id="rId24"/>
            </p:custDataLst>
          </p:nvPr>
        </p:nvSpPr>
        <p:spPr bwMode="auto">
          <a:xfrm>
            <a:off x="5287963"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707919-99A9-4C13-B131-56B8D9E27ED7}" type="datetime'''''''''''''2''''''''''''''''''0''1''''''''6'''''''''''''''''">
              <a:rPr lang="en-GB" altLang="en-US" sz="900" b="0" smtClean="0">
                <a:solidFill>
                  <a:srgbClr val="ACAEB1"/>
                </a:solidFill>
                <a:latin typeface="Century Schoolbook (Body)"/>
                <a:sym typeface="Century Schoolbook (Body)"/>
              </a:rPr>
              <a:pPr/>
              <a:t>2016</a:t>
            </a:fld>
            <a:endParaRPr lang="en-GB" sz="900" b="0" dirty="0">
              <a:solidFill>
                <a:srgbClr val="ACAEB1"/>
              </a:solidFill>
              <a:latin typeface="Century Schoolbook (Body)"/>
              <a:sym typeface="Century Schoolbook (Body)"/>
            </a:endParaRPr>
          </a:p>
        </p:txBody>
      </p:sp>
      <p:sp>
        <p:nvSpPr>
          <p:cNvPr id="25" name="Text Placeholder 2">
            <a:extLst>
              <a:ext uri="{FF2B5EF4-FFF2-40B4-BE49-F238E27FC236}">
                <a16:creationId xmlns:a16="http://schemas.microsoft.com/office/drawing/2014/main" id="{8A8725AA-682C-0331-07E9-CB39597A4219}"/>
              </a:ext>
            </a:extLst>
          </p:cNvPr>
          <p:cNvSpPr>
            <a:spLocks/>
          </p:cNvSpPr>
          <p:nvPr>
            <p:custDataLst>
              <p:tags r:id="rId25"/>
            </p:custDataLst>
          </p:nvPr>
        </p:nvSpPr>
        <p:spPr bwMode="auto">
          <a:xfrm>
            <a:off x="5956300"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396D9AF-4969-4D63-BC81-A43CC8F8B4E4}" type="datetime'''''''''''2''''''''''''''''0''''''''1''''''''''''''7'''''">
              <a:rPr lang="en-GB" altLang="en-US" sz="900" b="0" smtClean="0">
                <a:solidFill>
                  <a:srgbClr val="ACAEB1"/>
                </a:solidFill>
                <a:latin typeface="Century Schoolbook (Body)"/>
                <a:sym typeface="Century Schoolbook (Body)"/>
              </a:rPr>
              <a:pPr/>
              <a:t>2017</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DB53F325-A6CE-DC46-7022-7909629D60CE}"/>
              </a:ext>
            </a:extLst>
          </p:cNvPr>
          <p:cNvSpPr>
            <a:spLocks/>
          </p:cNvSpPr>
          <p:nvPr>
            <p:custDataLst>
              <p:tags r:id="rId26"/>
            </p:custDataLst>
          </p:nvPr>
        </p:nvSpPr>
        <p:spPr bwMode="auto">
          <a:xfrm>
            <a:off x="6624638"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00C3C22-2054-4896-AE2C-86B2792A702C}" type="datetime'''''''''''''''''''''''''''''''''''''''''''''2''0''18'''''''''">
              <a:rPr lang="en-GB" altLang="en-US" sz="900" b="0" smtClean="0">
                <a:solidFill>
                  <a:srgbClr val="ACAEB1"/>
                </a:solidFill>
                <a:latin typeface="Century Schoolbook (Body)"/>
                <a:sym typeface="Century Schoolbook (Body)"/>
              </a:rPr>
              <a:pPr/>
              <a:t>2018</a:t>
            </a:fld>
            <a:endParaRPr lang="en-GB" sz="900" b="0" dirty="0">
              <a:solidFill>
                <a:srgbClr val="ACAEB1"/>
              </a:solidFill>
              <a:latin typeface="Century Schoolbook (Body)"/>
              <a:sym typeface="Century Schoolbook (Body)"/>
            </a:endParaRPr>
          </a:p>
        </p:txBody>
      </p:sp>
      <p:sp>
        <p:nvSpPr>
          <p:cNvPr id="27" name="Text Placeholder 2">
            <a:extLst>
              <a:ext uri="{FF2B5EF4-FFF2-40B4-BE49-F238E27FC236}">
                <a16:creationId xmlns:a16="http://schemas.microsoft.com/office/drawing/2014/main" id="{0F5B7BDE-BBDB-AF67-F11B-3D89DD7E2B6A}"/>
              </a:ext>
            </a:extLst>
          </p:cNvPr>
          <p:cNvSpPr>
            <a:spLocks/>
          </p:cNvSpPr>
          <p:nvPr>
            <p:custDataLst>
              <p:tags r:id="rId27"/>
            </p:custDataLst>
          </p:nvPr>
        </p:nvSpPr>
        <p:spPr bwMode="auto">
          <a:xfrm>
            <a:off x="7291388"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2F3890E-9B97-42B6-A26D-0351E565494F}" type="datetime'''''''''''''''''''2''0''''''''''''''''''''''''''''1''9'''''">
              <a:rPr lang="en-GB" altLang="en-US" sz="900" b="0" smtClean="0">
                <a:solidFill>
                  <a:srgbClr val="ACAEB1"/>
                </a:solidFill>
                <a:latin typeface="Century Schoolbook (Body)"/>
                <a:sym typeface="Century Schoolbook (Body)"/>
              </a:rPr>
              <a:pPr/>
              <a:t>2019</a:t>
            </a:fld>
            <a:endParaRPr lang="en-GB" sz="900" b="0" dirty="0">
              <a:solidFill>
                <a:srgbClr val="ACAEB1"/>
              </a:solidFill>
              <a:latin typeface="Century Schoolbook (Body)"/>
              <a:sym typeface="Century Schoolbook (Body)"/>
            </a:endParaRPr>
          </a:p>
        </p:txBody>
      </p:sp>
      <p:sp>
        <p:nvSpPr>
          <p:cNvPr id="28" name="Text Placeholder 2">
            <a:extLst>
              <a:ext uri="{FF2B5EF4-FFF2-40B4-BE49-F238E27FC236}">
                <a16:creationId xmlns:a16="http://schemas.microsoft.com/office/drawing/2014/main" id="{3B7AA66A-C4B3-4686-669A-522FB13F30DB}"/>
              </a:ext>
            </a:extLst>
          </p:cNvPr>
          <p:cNvSpPr>
            <a:spLocks/>
          </p:cNvSpPr>
          <p:nvPr>
            <p:custDataLst>
              <p:tags r:id="rId28"/>
            </p:custDataLst>
          </p:nvPr>
        </p:nvSpPr>
        <p:spPr bwMode="auto">
          <a:xfrm>
            <a:off x="7959725"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F8E96C-2E11-4023-96EA-25C0CCCE82AB}" type="datetime'2''''0''''20'''''''''''''''">
              <a:rPr lang="en-GB" altLang="en-US" sz="900" b="0" smtClean="0">
                <a:solidFill>
                  <a:srgbClr val="ACAEB1"/>
                </a:solidFill>
                <a:latin typeface="Century Schoolbook (Body)"/>
                <a:sym typeface="Century Schoolbook (Body)"/>
              </a:rPr>
              <a:pPr/>
              <a:t>2020</a:t>
            </a:fld>
            <a:endParaRPr lang="en-GB" sz="900" b="0" dirty="0">
              <a:solidFill>
                <a:srgbClr val="ACAEB1"/>
              </a:solidFill>
              <a:latin typeface="Century Schoolbook (Body)"/>
              <a:sym typeface="Century Schoolbook (Body)"/>
            </a:endParaRPr>
          </a:p>
        </p:txBody>
      </p:sp>
      <p:sp>
        <p:nvSpPr>
          <p:cNvPr id="29" name="Text Placeholder 2">
            <a:extLst>
              <a:ext uri="{FF2B5EF4-FFF2-40B4-BE49-F238E27FC236}">
                <a16:creationId xmlns:a16="http://schemas.microsoft.com/office/drawing/2014/main" id="{3DB85616-5384-31BD-96BA-A19FC4178B60}"/>
              </a:ext>
            </a:extLst>
          </p:cNvPr>
          <p:cNvSpPr>
            <a:spLocks/>
          </p:cNvSpPr>
          <p:nvPr>
            <p:custDataLst>
              <p:tags r:id="rId29"/>
            </p:custDataLst>
          </p:nvPr>
        </p:nvSpPr>
        <p:spPr bwMode="auto">
          <a:xfrm>
            <a:off x="8628063"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B490462-5C06-4AC0-8613-FA51F00BB7AB}" type="datetime'''''''''2''''''''''''''''''''0''''''''''2''''1'''''''''">
              <a:rPr lang="en-GB" altLang="en-US" sz="900" b="0" smtClean="0">
                <a:solidFill>
                  <a:srgbClr val="ACAEB1"/>
                </a:solidFill>
                <a:latin typeface="Century Schoolbook (Body)"/>
                <a:sym typeface="Century Schoolbook (Body)"/>
              </a:rPr>
              <a:pPr/>
              <a:t>2021</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2404FEE5-0359-C0D2-B348-47B8ABAE5518}"/>
              </a:ext>
            </a:extLst>
          </p:cNvPr>
          <p:cNvSpPr>
            <a:spLocks/>
          </p:cNvSpPr>
          <p:nvPr>
            <p:custDataLst>
              <p:tags r:id="rId30"/>
            </p:custDataLst>
          </p:nvPr>
        </p:nvSpPr>
        <p:spPr bwMode="auto">
          <a:xfrm>
            <a:off x="9294813"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F3FA6AB6-38A8-4795-A75C-C4A92EB30FB7}" type="datetime'''20''''''''''''''2''''''''''''''''''''''''2'''''''''''''">
              <a:rPr lang="en-GB" altLang="en-US" sz="900" b="0" smtClean="0">
                <a:solidFill>
                  <a:srgbClr val="ACAEB1"/>
                </a:solidFill>
                <a:latin typeface="Century Schoolbook (Body)"/>
                <a:sym typeface="Century Schoolbook (Body)"/>
              </a:rPr>
              <a:pPr/>
              <a:t>2022</a:t>
            </a:fld>
            <a:endParaRPr lang="en-GB" sz="900" b="0" dirty="0">
              <a:solidFill>
                <a:srgbClr val="ACAEB1"/>
              </a:solidFill>
              <a:latin typeface="Century Schoolbook (Body)"/>
              <a:sym typeface="Century Schoolbook (Body)"/>
            </a:endParaRPr>
          </a:p>
        </p:txBody>
      </p:sp>
      <p:sp>
        <p:nvSpPr>
          <p:cNvPr id="31" name="Text Placeholder 2">
            <a:extLst>
              <a:ext uri="{FF2B5EF4-FFF2-40B4-BE49-F238E27FC236}">
                <a16:creationId xmlns:a16="http://schemas.microsoft.com/office/drawing/2014/main" id="{06177F48-45D8-798C-9FC2-44BA5D82B96D}"/>
              </a:ext>
            </a:extLst>
          </p:cNvPr>
          <p:cNvSpPr>
            <a:spLocks/>
          </p:cNvSpPr>
          <p:nvPr>
            <p:custDataLst>
              <p:tags r:id="rId31"/>
            </p:custDataLst>
          </p:nvPr>
        </p:nvSpPr>
        <p:spPr bwMode="auto">
          <a:xfrm>
            <a:off x="9963150"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4401756-F123-4A0E-B88A-8ECC2DCD3FD2}" type="datetime'''''''''''''''''''2''''''''0''''''''''''2''''''''''''''3'">
              <a:rPr lang="en-GB" altLang="en-US" sz="900" b="0" smtClean="0">
                <a:solidFill>
                  <a:srgbClr val="ACAEB1"/>
                </a:solidFill>
                <a:latin typeface="Century Schoolbook (Body)"/>
                <a:sym typeface="Century Schoolbook (Body)"/>
              </a:rPr>
              <a:pPr/>
              <a:t>2023</a:t>
            </a:fld>
            <a:endParaRPr lang="en-GB" sz="900" b="0" dirty="0">
              <a:solidFill>
                <a:srgbClr val="ACAEB1"/>
              </a:solidFill>
              <a:latin typeface="Century Schoolbook (Body)"/>
              <a:sym typeface="Century Schoolbook (Body)"/>
            </a:endParaRPr>
          </a:p>
        </p:txBody>
      </p:sp>
      <p:sp>
        <p:nvSpPr>
          <p:cNvPr id="32" name="Text Placeholder 2">
            <a:extLst>
              <a:ext uri="{FF2B5EF4-FFF2-40B4-BE49-F238E27FC236}">
                <a16:creationId xmlns:a16="http://schemas.microsoft.com/office/drawing/2014/main" id="{B611909C-3E13-0E00-D3F0-A34D0754D851}"/>
              </a:ext>
            </a:extLst>
          </p:cNvPr>
          <p:cNvSpPr>
            <a:spLocks/>
          </p:cNvSpPr>
          <p:nvPr>
            <p:custDataLst>
              <p:tags r:id="rId32"/>
            </p:custDataLst>
          </p:nvPr>
        </p:nvSpPr>
        <p:spPr bwMode="auto">
          <a:xfrm>
            <a:off x="10631488"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234E3D1-D44C-4BFC-BC2B-0BF58E4BE7CB}" type="datetime'2''''''''''0''''''''''''''2''''''''''''''4'''''''''''">
              <a:rPr lang="en-GB" altLang="en-US" sz="900" b="0" smtClean="0">
                <a:solidFill>
                  <a:srgbClr val="ACAEB1"/>
                </a:solidFill>
                <a:latin typeface="Century Schoolbook (Body)"/>
                <a:sym typeface="Century Schoolbook (Body)"/>
              </a:rPr>
              <a:pPr/>
              <a:t>2024</a:t>
            </a:fld>
            <a:endParaRPr lang="en-GB" sz="900" b="0" dirty="0">
              <a:solidFill>
                <a:srgbClr val="ACAEB1"/>
              </a:solidFill>
              <a:latin typeface="Century Schoolbook (Body)"/>
              <a:sym typeface="Century Schoolbook (Body)"/>
            </a:endParaRPr>
          </a:p>
        </p:txBody>
      </p:sp>
      <p:sp>
        <p:nvSpPr>
          <p:cNvPr id="49" name="Text Placeholder 2">
            <a:extLst>
              <a:ext uri="{FF2B5EF4-FFF2-40B4-BE49-F238E27FC236}">
                <a16:creationId xmlns:a16="http://schemas.microsoft.com/office/drawing/2014/main" id="{21262F34-33B8-3156-405B-0329BD39D363}"/>
              </a:ext>
            </a:extLst>
          </p:cNvPr>
          <p:cNvSpPr>
            <a:spLocks/>
          </p:cNvSpPr>
          <p:nvPr>
            <p:custDataLst>
              <p:tags r:id="rId33"/>
            </p:custDataLst>
          </p:nvPr>
        </p:nvSpPr>
        <p:spPr bwMode="gray">
          <a:xfrm>
            <a:off x="1300163" y="3357563"/>
            <a:ext cx="2286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0104BE5-2C44-4782-B854-F57A03C8269D}" type="datetime'''''''''''''''''''''''8''8''''''''0'''''''''''''''''''''">
              <a:rPr lang="en-GB" altLang="en-US" sz="900" b="0" smtClean="0">
                <a:solidFill>
                  <a:srgbClr val="ACAEB1"/>
                </a:solidFill>
                <a:effectLst/>
                <a:latin typeface="Century Schoolbook (Body)"/>
                <a:sym typeface="Century Schoolbook (Body)"/>
              </a:rPr>
              <a:pPr/>
              <a:t>880</a:t>
            </a:fld>
            <a:endParaRPr lang="en-GB" sz="900" b="0" dirty="0">
              <a:solidFill>
                <a:srgbClr val="ACAEB1"/>
              </a:solidFill>
              <a:latin typeface="Century Schoolbook (Body)"/>
              <a:sym typeface="Century Schoolbook (Body)"/>
            </a:endParaRPr>
          </a:p>
        </p:txBody>
      </p:sp>
      <p:sp>
        <p:nvSpPr>
          <p:cNvPr id="71" name="Text Placeholder 2">
            <a:extLst>
              <a:ext uri="{FF2B5EF4-FFF2-40B4-BE49-F238E27FC236}">
                <a16:creationId xmlns:a16="http://schemas.microsoft.com/office/drawing/2014/main" id="{A8BFD4C8-D986-1359-8D3E-43253EAEB2AA}"/>
              </a:ext>
            </a:extLst>
          </p:cNvPr>
          <p:cNvSpPr>
            <a:spLocks/>
          </p:cNvSpPr>
          <p:nvPr>
            <p:custDataLst>
              <p:tags r:id="rId34"/>
            </p:custDataLst>
          </p:nvPr>
        </p:nvSpPr>
        <p:spPr bwMode="gray">
          <a:xfrm>
            <a:off x="1968500" y="3289300"/>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9061973-B17B-4574-AB29-0736CF0E2143}" type="datetime'''''9''''''''''''''''''''0''''''7'''''''''''''''''''''''''''">
              <a:rPr lang="en-GB" altLang="en-US" sz="900" b="0" smtClean="0">
                <a:solidFill>
                  <a:srgbClr val="ACAEB1"/>
                </a:solidFill>
                <a:effectLst/>
                <a:latin typeface="Century Schoolbook (Body)"/>
                <a:sym typeface="Century Schoolbook (Body)"/>
              </a:rPr>
              <a:pPr lvl="0" algn="ctr">
                <a:spcBef>
                  <a:spcPct val="0"/>
                </a:spcBef>
                <a:spcAft>
                  <a:spcPct val="0"/>
                </a:spcAft>
              </a:pPr>
              <a:t>907</a:t>
            </a:fld>
            <a:endParaRPr lang="en-GB" sz="900" b="0" dirty="0">
              <a:solidFill>
                <a:srgbClr val="ACAEB1"/>
              </a:solidFill>
              <a:latin typeface="Century Schoolbook (Body)"/>
              <a:sym typeface="Century Schoolbook (Body)"/>
            </a:endParaRPr>
          </a:p>
        </p:txBody>
      </p:sp>
      <p:sp useBgFill="1">
        <p:nvSpPr>
          <p:cNvPr id="72" name="Text Placeholder 2">
            <a:extLst>
              <a:ext uri="{FF2B5EF4-FFF2-40B4-BE49-F238E27FC236}">
                <a16:creationId xmlns:a16="http://schemas.microsoft.com/office/drawing/2014/main" id="{D5C33049-DBF7-7B9E-692A-0B4E5B65A7E8}"/>
              </a:ext>
            </a:extLst>
          </p:cNvPr>
          <p:cNvSpPr>
            <a:spLocks/>
          </p:cNvSpPr>
          <p:nvPr>
            <p:custDataLst>
              <p:tags r:id="rId35"/>
            </p:custDataLst>
          </p:nvPr>
        </p:nvSpPr>
        <p:spPr bwMode="gray">
          <a:xfrm>
            <a:off x="2635250" y="3132138"/>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2C1B26C-0B35-4B28-9EB9-EDF35393231F}" type="datetime'''''''''''''''''''9''''''''''''''''''''''7''''''''''''0'''">
              <a:rPr lang="en-GB" altLang="en-US" sz="900" b="0" smtClean="0">
                <a:solidFill>
                  <a:srgbClr val="ACAEB1"/>
                </a:solidFill>
                <a:effectLst/>
                <a:latin typeface="Century Schoolbook (Body)"/>
                <a:sym typeface="Century Schoolbook (Body)"/>
              </a:rPr>
              <a:pPr lvl="0" algn="ctr">
                <a:spcBef>
                  <a:spcPct val="0"/>
                </a:spcBef>
                <a:spcAft>
                  <a:spcPct val="0"/>
                </a:spcAft>
              </a:pPr>
              <a:t>970</a:t>
            </a:fld>
            <a:endParaRPr lang="en-GB" sz="900" b="0" dirty="0">
              <a:solidFill>
                <a:srgbClr val="ACAEB1"/>
              </a:solidFill>
              <a:latin typeface="Century Schoolbook (Body)"/>
              <a:sym typeface="Century Schoolbook (Body)"/>
            </a:endParaRPr>
          </a:p>
        </p:txBody>
      </p:sp>
      <p:sp>
        <p:nvSpPr>
          <p:cNvPr id="73" name="Text Placeholder 2">
            <a:extLst>
              <a:ext uri="{FF2B5EF4-FFF2-40B4-BE49-F238E27FC236}">
                <a16:creationId xmlns:a16="http://schemas.microsoft.com/office/drawing/2014/main" id="{7651A1A0-DCBC-D158-5B23-BC5E8845E935}"/>
              </a:ext>
            </a:extLst>
          </p:cNvPr>
          <p:cNvSpPr>
            <a:spLocks/>
          </p:cNvSpPr>
          <p:nvPr>
            <p:custDataLst>
              <p:tags r:id="rId36"/>
            </p:custDataLst>
          </p:nvPr>
        </p:nvSpPr>
        <p:spPr bwMode="gray">
          <a:xfrm>
            <a:off x="3303588" y="3082925"/>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0DE4F2C-1B08-4A0E-A643-18BBB4497498}" type="datetime'''''''''''''''''''''''''''''''9''''9''''''''''''''''''''0'">
              <a:rPr lang="en-GB" altLang="en-US" sz="900" b="0" smtClean="0">
                <a:solidFill>
                  <a:srgbClr val="ACAEB1"/>
                </a:solidFill>
                <a:effectLst/>
                <a:latin typeface="Century Schoolbook (Body)"/>
                <a:sym typeface="Century Schoolbook (Body)"/>
              </a:rPr>
              <a:pPr lvl="0" algn="ctr">
                <a:spcBef>
                  <a:spcPct val="0"/>
                </a:spcBef>
                <a:spcAft>
                  <a:spcPct val="0"/>
                </a:spcAft>
              </a:pPr>
              <a:t>990</a:t>
            </a:fld>
            <a:endParaRPr lang="en-GB" sz="900" b="0" dirty="0">
              <a:solidFill>
                <a:srgbClr val="ACAEB1"/>
              </a:solidFill>
              <a:latin typeface="Century Schoolbook (Body)"/>
              <a:sym typeface="Century Schoolbook (Body)"/>
            </a:endParaRPr>
          </a:p>
        </p:txBody>
      </p:sp>
      <p:sp>
        <p:nvSpPr>
          <p:cNvPr id="50" name="Text Placeholder 2">
            <a:extLst>
              <a:ext uri="{FF2B5EF4-FFF2-40B4-BE49-F238E27FC236}">
                <a16:creationId xmlns:a16="http://schemas.microsoft.com/office/drawing/2014/main" id="{F08352B3-7B01-C08F-6C43-09116259FB5E}"/>
              </a:ext>
            </a:extLst>
          </p:cNvPr>
          <p:cNvSpPr>
            <a:spLocks/>
          </p:cNvSpPr>
          <p:nvPr>
            <p:custDataLst>
              <p:tags r:id="rId37"/>
            </p:custDataLst>
          </p:nvPr>
        </p:nvSpPr>
        <p:spPr bwMode="gray">
          <a:xfrm>
            <a:off x="3924300" y="3009900"/>
            <a:ext cx="3238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B7C4828-7F06-4B6C-B26E-0B6A82DB2D12}" type="datetime'1'''''''''''''''',''''''''''01''''9'''''">
              <a:rPr lang="en-GB" altLang="en-US" sz="900" b="0" smtClean="0">
                <a:solidFill>
                  <a:srgbClr val="ACAEB1"/>
                </a:solidFill>
                <a:effectLst/>
                <a:latin typeface="Century Schoolbook (Body)"/>
                <a:sym typeface="Century Schoolbook (Body)"/>
              </a:rPr>
              <a:pPr/>
              <a:t>1,019</a:t>
            </a:fld>
            <a:endParaRPr lang="en-GB" sz="900" b="0" dirty="0">
              <a:solidFill>
                <a:srgbClr val="ACAEB1"/>
              </a:solidFill>
              <a:latin typeface="Century Schoolbook (Body)"/>
              <a:sym typeface="Century Schoolbook (Body)"/>
            </a:endParaRPr>
          </a:p>
        </p:txBody>
      </p:sp>
      <p:sp>
        <p:nvSpPr>
          <p:cNvPr id="74" name="Text Placeholder 2">
            <a:extLst>
              <a:ext uri="{FF2B5EF4-FFF2-40B4-BE49-F238E27FC236}">
                <a16:creationId xmlns:a16="http://schemas.microsoft.com/office/drawing/2014/main" id="{D5F10EDE-B87F-BE18-F86D-AF3EFF1AFB55}"/>
              </a:ext>
            </a:extLst>
          </p:cNvPr>
          <p:cNvSpPr>
            <a:spLocks/>
          </p:cNvSpPr>
          <p:nvPr>
            <p:custDataLst>
              <p:tags r:id="rId38"/>
            </p:custDataLst>
          </p:nvPr>
        </p:nvSpPr>
        <p:spPr bwMode="gray">
          <a:xfrm>
            <a:off x="4591050" y="2911475"/>
            <a:ext cx="3238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E3A75D4-3ED7-4A74-A621-3B16BFC6A2C5}" type="datetime'1'''',''''''''0''''''''''''5''''''''''''8'">
              <a:rPr lang="en-GB" altLang="en-US" sz="900" b="0" smtClean="0">
                <a:solidFill>
                  <a:srgbClr val="ACAEB1"/>
                </a:solidFill>
                <a:effectLst/>
                <a:latin typeface="Century Schoolbook (Body)"/>
                <a:sym typeface="Century Schoolbook (Body)"/>
              </a:rPr>
              <a:pPr lvl="0" algn="ctr">
                <a:spcBef>
                  <a:spcPct val="0"/>
                </a:spcBef>
                <a:spcAft>
                  <a:spcPct val="0"/>
                </a:spcAft>
              </a:pPr>
              <a:t>1,058</a:t>
            </a:fld>
            <a:endParaRPr lang="en-GB" sz="900" b="0" dirty="0">
              <a:solidFill>
                <a:srgbClr val="ACAEB1"/>
              </a:solidFill>
              <a:latin typeface="Century Schoolbook (Body)"/>
              <a:sym typeface="Century Schoolbook (Body)"/>
            </a:endParaRPr>
          </a:p>
        </p:txBody>
      </p:sp>
      <p:sp>
        <p:nvSpPr>
          <p:cNvPr id="75" name="Text Placeholder 2">
            <a:extLst>
              <a:ext uri="{FF2B5EF4-FFF2-40B4-BE49-F238E27FC236}">
                <a16:creationId xmlns:a16="http://schemas.microsoft.com/office/drawing/2014/main" id="{A6F23BF9-720F-F461-B8AD-7C0F0D45B9E5}"/>
              </a:ext>
            </a:extLst>
          </p:cNvPr>
          <p:cNvSpPr>
            <a:spLocks/>
          </p:cNvSpPr>
          <p:nvPr>
            <p:custDataLst>
              <p:tags r:id="rId39"/>
            </p:custDataLst>
          </p:nvPr>
        </p:nvSpPr>
        <p:spPr bwMode="gray">
          <a:xfrm>
            <a:off x="5259388" y="2738438"/>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BEDA056-14FB-45F2-B9A6-253D7CBB113A}" type="datetime'''''''''''''''''1'''''''''',''''1''''''2''''''''''''''''''''8'">
              <a:rPr lang="en-GB" altLang="en-US" sz="900" b="0" smtClean="0">
                <a:solidFill>
                  <a:srgbClr val="ACAEB1"/>
                </a:solidFill>
                <a:effectLst/>
                <a:latin typeface="Century Schoolbook (Body)"/>
                <a:sym typeface="Century Schoolbook (Body)"/>
              </a:rPr>
              <a:pPr lvl="0" algn="ctr">
                <a:spcBef>
                  <a:spcPct val="0"/>
                </a:spcBef>
                <a:spcAft>
                  <a:spcPct val="0"/>
                </a:spcAft>
              </a:pPr>
              <a:t>1,128</a:t>
            </a:fld>
            <a:endParaRPr lang="en-GB" sz="900" b="0" dirty="0">
              <a:solidFill>
                <a:srgbClr val="ACAEB1"/>
              </a:solidFill>
              <a:latin typeface="Century Schoolbook (Body)"/>
              <a:sym typeface="Century Schoolbook (Body)"/>
            </a:endParaRPr>
          </a:p>
        </p:txBody>
      </p:sp>
      <p:sp>
        <p:nvSpPr>
          <p:cNvPr id="53" name="Text Placeholder 2">
            <a:extLst>
              <a:ext uri="{FF2B5EF4-FFF2-40B4-BE49-F238E27FC236}">
                <a16:creationId xmlns:a16="http://schemas.microsoft.com/office/drawing/2014/main" id="{9C0743A4-DF3A-26A0-C677-F26C5366AE92}"/>
              </a:ext>
            </a:extLst>
          </p:cNvPr>
          <p:cNvSpPr>
            <a:spLocks/>
          </p:cNvSpPr>
          <p:nvPr>
            <p:custDataLst>
              <p:tags r:id="rId40"/>
            </p:custDataLst>
          </p:nvPr>
        </p:nvSpPr>
        <p:spPr bwMode="auto">
          <a:xfrm>
            <a:off x="839788" y="1392238"/>
            <a:ext cx="482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r>
              <a:rPr lang="en-GB" altLang="en-US" sz="900" dirty="0">
                <a:solidFill>
                  <a:srgbClr val="ACAEB1"/>
                </a:solidFill>
                <a:effectLst/>
                <a:latin typeface="Century Schoolbook (Body)"/>
              </a:rPr>
              <a:t>Millions</a:t>
            </a:r>
            <a:endParaRPr lang="en-GB" sz="900" dirty="0">
              <a:solidFill>
                <a:srgbClr val="ACAEB1"/>
              </a:solidFill>
              <a:latin typeface="Century Schoolbook (Body)"/>
            </a:endParaRPr>
          </a:p>
        </p:txBody>
      </p:sp>
      <p:sp>
        <p:nvSpPr>
          <p:cNvPr id="76" name="Text Placeholder 2">
            <a:extLst>
              <a:ext uri="{FF2B5EF4-FFF2-40B4-BE49-F238E27FC236}">
                <a16:creationId xmlns:a16="http://schemas.microsoft.com/office/drawing/2014/main" id="{E75989BE-42B2-B6B6-8C92-F3E235063B4B}"/>
              </a:ext>
            </a:extLst>
          </p:cNvPr>
          <p:cNvSpPr>
            <a:spLocks/>
          </p:cNvSpPr>
          <p:nvPr>
            <p:custDataLst>
              <p:tags r:id="rId41"/>
            </p:custDataLst>
          </p:nvPr>
        </p:nvSpPr>
        <p:spPr bwMode="gray">
          <a:xfrm>
            <a:off x="6596063" y="2533650"/>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CDA706C-E466-49C5-8BE9-50EFF2FB0E93}" type="datetime'1'''''''''''''''''''''''''''''''',''''''''''''2''''0''9'''">
              <a:rPr lang="en-GB" altLang="en-US" sz="900" b="0" smtClean="0">
                <a:solidFill>
                  <a:srgbClr val="ACAEB1"/>
                </a:solidFill>
                <a:effectLst/>
                <a:latin typeface="Century Schoolbook (Body)"/>
                <a:sym typeface="Century Schoolbook (Body)"/>
              </a:rPr>
              <a:pPr lvl="0" algn="ctr">
                <a:spcBef>
                  <a:spcPct val="0"/>
                </a:spcBef>
                <a:spcAft>
                  <a:spcPct val="0"/>
                </a:spcAft>
              </a:pPr>
              <a:t>1,209</a:t>
            </a:fld>
            <a:endParaRPr lang="en-GB" sz="900" b="0" dirty="0">
              <a:solidFill>
                <a:srgbClr val="ACAEB1"/>
              </a:solidFill>
              <a:latin typeface="Century Schoolbook (Body)"/>
              <a:sym typeface="Century Schoolbook (Body)"/>
            </a:endParaRPr>
          </a:p>
        </p:txBody>
      </p:sp>
      <p:sp>
        <p:nvSpPr>
          <p:cNvPr id="77" name="Text Placeholder 2">
            <a:extLst>
              <a:ext uri="{FF2B5EF4-FFF2-40B4-BE49-F238E27FC236}">
                <a16:creationId xmlns:a16="http://schemas.microsoft.com/office/drawing/2014/main" id="{BFF51F25-4276-8DB0-3C58-1D7A3ABD348D}"/>
              </a:ext>
            </a:extLst>
          </p:cNvPr>
          <p:cNvSpPr>
            <a:spLocks/>
          </p:cNvSpPr>
          <p:nvPr>
            <p:custDataLst>
              <p:tags r:id="rId42"/>
            </p:custDataLst>
          </p:nvPr>
        </p:nvSpPr>
        <p:spPr bwMode="gray">
          <a:xfrm>
            <a:off x="7262813" y="2305050"/>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6DD7661-88A8-424A-AFD1-5CD5FF776CB4}" type="datetime'''''''''''''''1'''',''''''3''0''''''1'''''''''''">
              <a:rPr lang="en-GB" altLang="en-US" sz="900" b="0" smtClean="0">
                <a:solidFill>
                  <a:srgbClr val="ACAEB1"/>
                </a:solidFill>
                <a:effectLst/>
                <a:latin typeface="Century Schoolbook (Body)"/>
                <a:sym typeface="Century Schoolbook (Body)"/>
              </a:rPr>
              <a:pPr lvl="0" algn="ctr">
                <a:spcBef>
                  <a:spcPct val="0"/>
                </a:spcBef>
                <a:spcAft>
                  <a:spcPct val="0"/>
                </a:spcAft>
              </a:pPr>
              <a:t>1,301</a:t>
            </a:fld>
            <a:endParaRPr lang="en-GB" sz="900" b="0" dirty="0">
              <a:solidFill>
                <a:srgbClr val="ACAEB1"/>
              </a:solidFill>
              <a:latin typeface="Century Schoolbook (Body)"/>
              <a:sym typeface="Century Schoolbook (Body)"/>
            </a:endParaRPr>
          </a:p>
        </p:txBody>
      </p:sp>
      <p:sp>
        <p:nvSpPr>
          <p:cNvPr id="78" name="Text Placeholder 2">
            <a:extLst>
              <a:ext uri="{FF2B5EF4-FFF2-40B4-BE49-F238E27FC236}">
                <a16:creationId xmlns:a16="http://schemas.microsoft.com/office/drawing/2014/main" id="{A8274723-7CED-ED62-CA02-3D7C43FAAAC2}"/>
              </a:ext>
            </a:extLst>
          </p:cNvPr>
          <p:cNvSpPr>
            <a:spLocks/>
          </p:cNvSpPr>
          <p:nvPr>
            <p:custDataLst>
              <p:tags r:id="rId43"/>
            </p:custDataLst>
          </p:nvPr>
        </p:nvSpPr>
        <p:spPr bwMode="gray">
          <a:xfrm>
            <a:off x="7978775" y="3808413"/>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0EC1AD6-1C14-44DE-8146-E40B851EA48C}" type="datetime'''''''''''''''''''''''6''''''''''''''9''''''''''''9'">
              <a:rPr lang="en-GB" altLang="en-US" sz="900" b="0" smtClean="0">
                <a:solidFill>
                  <a:srgbClr val="ACAEB1"/>
                </a:solidFill>
                <a:effectLst/>
                <a:latin typeface="Century Schoolbook (Body)"/>
                <a:sym typeface="Century Schoolbook (Body)"/>
              </a:rPr>
              <a:pPr lvl="0" algn="ctr">
                <a:spcBef>
                  <a:spcPct val="0"/>
                </a:spcBef>
                <a:spcAft>
                  <a:spcPct val="0"/>
                </a:spcAft>
              </a:pPr>
              <a:t>699</a:t>
            </a:fld>
            <a:endParaRPr lang="en-GB" sz="900" b="0" dirty="0">
              <a:solidFill>
                <a:srgbClr val="ACAEB1"/>
              </a:solidFill>
              <a:latin typeface="Century Schoolbook (Body)"/>
              <a:sym typeface="Century Schoolbook (Body)"/>
            </a:endParaRPr>
          </a:p>
        </p:txBody>
      </p:sp>
      <p:sp>
        <p:nvSpPr>
          <p:cNvPr id="79" name="Text Placeholder 2">
            <a:extLst>
              <a:ext uri="{FF2B5EF4-FFF2-40B4-BE49-F238E27FC236}">
                <a16:creationId xmlns:a16="http://schemas.microsoft.com/office/drawing/2014/main" id="{C10B2C44-80A0-31AB-7A1B-D12836F43990}"/>
              </a:ext>
            </a:extLst>
          </p:cNvPr>
          <p:cNvSpPr>
            <a:spLocks/>
          </p:cNvSpPr>
          <p:nvPr>
            <p:custDataLst>
              <p:tags r:id="rId44"/>
            </p:custDataLst>
          </p:nvPr>
        </p:nvSpPr>
        <p:spPr bwMode="gray">
          <a:xfrm>
            <a:off x="8647113" y="3303588"/>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A9AE488-136C-4608-86CA-85F0D2E9F1BD}" type="datetime'''''''''''''''''''''''''''''''9''''''''''''''0''1'''''''''''">
              <a:rPr lang="en-GB" altLang="en-US" sz="900" b="0" smtClean="0">
                <a:solidFill>
                  <a:srgbClr val="ACAEB1"/>
                </a:solidFill>
                <a:effectLst/>
                <a:latin typeface="Century Schoolbook (Body)"/>
                <a:sym typeface="Century Schoolbook (Body)"/>
              </a:rPr>
              <a:pPr lvl="0" algn="ctr">
                <a:spcBef>
                  <a:spcPct val="0"/>
                </a:spcBef>
                <a:spcAft>
                  <a:spcPct val="0"/>
                </a:spcAft>
              </a:pPr>
              <a:t>901</a:t>
            </a:fld>
            <a:endParaRPr lang="en-GB" sz="900" b="0" dirty="0">
              <a:solidFill>
                <a:srgbClr val="ACAEB1"/>
              </a:solidFill>
              <a:latin typeface="Century Schoolbook (Body)"/>
              <a:sym typeface="Century Schoolbook (Body)"/>
            </a:endParaRPr>
          </a:p>
        </p:txBody>
      </p:sp>
      <p:sp useBgFill="1">
        <p:nvSpPr>
          <p:cNvPr id="52" name="Text Placeholder 2">
            <a:extLst>
              <a:ext uri="{FF2B5EF4-FFF2-40B4-BE49-F238E27FC236}">
                <a16:creationId xmlns:a16="http://schemas.microsoft.com/office/drawing/2014/main" id="{42BA11C1-D136-38AD-D3DA-C2847F3A69B2}"/>
              </a:ext>
            </a:extLst>
          </p:cNvPr>
          <p:cNvSpPr>
            <a:spLocks/>
          </p:cNvSpPr>
          <p:nvPr>
            <p:custDataLst>
              <p:tags r:id="rId45"/>
            </p:custDataLst>
          </p:nvPr>
        </p:nvSpPr>
        <p:spPr bwMode="gray">
          <a:xfrm>
            <a:off x="9266238" y="2608263"/>
            <a:ext cx="32385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A0C9529-A8D5-4BDD-9392-C927F1262A3A}" type="datetime'''1'''''',''''''''''''''18''0'''''''''''''''''''''''''''''''''">
              <a:rPr lang="en-GB" altLang="en-US" sz="900" b="0" smtClean="0">
                <a:solidFill>
                  <a:srgbClr val="ACAEB1"/>
                </a:solidFill>
                <a:effectLst/>
                <a:latin typeface="Century Schoolbook (Body)"/>
                <a:sym typeface="Century Schoolbook (Body)"/>
              </a:rPr>
              <a:pPr/>
              <a:t>1,180</a:t>
            </a:fld>
            <a:endParaRPr lang="en-GB" sz="900" b="0" dirty="0">
              <a:solidFill>
                <a:srgbClr val="ACAEB1"/>
              </a:solidFill>
              <a:latin typeface="Century Schoolbook (Body)"/>
              <a:sym typeface="Century Schoolbook (Body)"/>
            </a:endParaRPr>
          </a:p>
        </p:txBody>
      </p:sp>
      <p:sp useBgFill="1">
        <p:nvSpPr>
          <p:cNvPr id="51" name="Text Placeholder 2">
            <a:extLst>
              <a:ext uri="{FF2B5EF4-FFF2-40B4-BE49-F238E27FC236}">
                <a16:creationId xmlns:a16="http://schemas.microsoft.com/office/drawing/2014/main" id="{5ED18958-9434-654E-48D3-626EE62CE623}"/>
              </a:ext>
            </a:extLst>
          </p:cNvPr>
          <p:cNvSpPr>
            <a:spLocks/>
          </p:cNvSpPr>
          <p:nvPr>
            <p:custDataLst>
              <p:tags r:id="rId46"/>
            </p:custDataLst>
          </p:nvPr>
        </p:nvSpPr>
        <p:spPr bwMode="gray">
          <a:xfrm>
            <a:off x="5927725" y="2695575"/>
            <a:ext cx="32385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F15D5A9-CDBA-4076-B059-B0945C394F4D}" type="datetime'1'''''''''''''''''''',1''''''''''''4''''''''''''''''4'''">
              <a:rPr lang="en-GB" altLang="en-US" sz="900" b="0" smtClean="0">
                <a:solidFill>
                  <a:srgbClr val="ACAEB1"/>
                </a:solidFill>
                <a:effectLst/>
                <a:latin typeface="Century Schoolbook (Body)"/>
                <a:sym typeface="Century Schoolbook (Body)"/>
              </a:rPr>
              <a:pPr/>
              <a:t>1,144</a:t>
            </a:fld>
            <a:endParaRPr lang="en-GB" sz="900" b="0" dirty="0">
              <a:solidFill>
                <a:srgbClr val="ACAEB1"/>
              </a:solidFill>
              <a:latin typeface="Century Schoolbook (Body)"/>
              <a:sym typeface="Century Schoolbook (Body)"/>
            </a:endParaRPr>
          </a:p>
        </p:txBody>
      </p:sp>
      <p:sp>
        <p:nvSpPr>
          <p:cNvPr id="81" name="Text Placeholder 2">
            <a:extLst>
              <a:ext uri="{FF2B5EF4-FFF2-40B4-BE49-F238E27FC236}">
                <a16:creationId xmlns:a16="http://schemas.microsoft.com/office/drawing/2014/main" id="{EEA59B1A-A0AC-1354-5BED-389C22238881}"/>
              </a:ext>
            </a:extLst>
          </p:cNvPr>
          <p:cNvSpPr>
            <a:spLocks/>
          </p:cNvSpPr>
          <p:nvPr>
            <p:custDataLst>
              <p:tags r:id="rId47"/>
            </p:custDataLst>
          </p:nvPr>
        </p:nvSpPr>
        <p:spPr bwMode="gray">
          <a:xfrm>
            <a:off x="10602913" y="2058988"/>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53F7933-68F9-4FBD-BBF7-AFE5D7396A5F}" type="datetime'''''1'''''',''''''''''''''''''3''''''''9''''''9'''''''''">
              <a:rPr lang="en-GB" altLang="en-US" sz="900" b="0" smtClean="0">
                <a:solidFill>
                  <a:srgbClr val="ACAEB1"/>
                </a:solidFill>
                <a:latin typeface="Century Schoolbook (Body)"/>
              </a:rPr>
              <a:pPr/>
              <a:t>1,399</a:t>
            </a:fld>
            <a:endParaRPr lang="en-GB" sz="900" b="0" dirty="0">
              <a:solidFill>
                <a:srgbClr val="ACAEB1"/>
              </a:solidFill>
              <a:latin typeface="Century Schoolbook (Body)"/>
              <a:sym typeface="Century Schoolbook (Body)"/>
            </a:endParaRPr>
          </a:p>
        </p:txBody>
      </p:sp>
      <p:sp>
        <p:nvSpPr>
          <p:cNvPr id="14" name="Text Placeholder 2">
            <a:extLst>
              <a:ext uri="{FF2B5EF4-FFF2-40B4-BE49-F238E27FC236}">
                <a16:creationId xmlns:a16="http://schemas.microsoft.com/office/drawing/2014/main" id="{7B98813F-43C1-3574-501A-1B648B15DCF8}"/>
              </a:ext>
            </a:extLst>
          </p:cNvPr>
          <p:cNvSpPr>
            <a:spLocks/>
          </p:cNvSpPr>
          <p:nvPr>
            <p:custDataLst>
              <p:tags r:id="rId48"/>
            </p:custDataLst>
          </p:nvPr>
        </p:nvSpPr>
        <p:spPr bwMode="auto">
          <a:xfrm>
            <a:off x="11298238"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E4A13F4-45F9-463D-BFBD-8DC093C7A0D6}" type="datetime'''2''''''''0''''''''''''''''''''25'''''''''''''''''''''''">
              <a:rPr lang="en-GB" altLang="en-US" sz="900" b="0" smtClean="0">
                <a:solidFill>
                  <a:srgbClr val="ACAEB1"/>
                </a:solidFill>
                <a:latin typeface="Century Schoolbook (Body)"/>
              </a:rPr>
              <a:pPr/>
              <a:t>2025</a:t>
            </a:fld>
            <a:endParaRPr lang="en-GB" sz="900" b="0" dirty="0">
              <a:solidFill>
                <a:srgbClr val="ACAEB1"/>
              </a:solidFill>
              <a:latin typeface="Century Schoolbook (Body)"/>
              <a:sym typeface="Century Schoolbook (Body)"/>
            </a:endParaRPr>
          </a:p>
        </p:txBody>
      </p:sp>
      <p:sp>
        <p:nvSpPr>
          <p:cNvPr id="17" name="Text Placeholder 2">
            <a:extLst>
              <a:ext uri="{FF2B5EF4-FFF2-40B4-BE49-F238E27FC236}">
                <a16:creationId xmlns:a16="http://schemas.microsoft.com/office/drawing/2014/main" id="{5546D96A-F600-EF56-43CB-4041900A9C60}"/>
              </a:ext>
            </a:extLst>
          </p:cNvPr>
          <p:cNvSpPr>
            <a:spLocks/>
          </p:cNvSpPr>
          <p:nvPr>
            <p:custDataLst>
              <p:tags r:id="rId49"/>
            </p:custDataLst>
          </p:nvPr>
        </p:nvSpPr>
        <p:spPr bwMode="gray">
          <a:xfrm>
            <a:off x="11269663" y="1968500"/>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3BDCD83-12EE-4E57-A8E5-E6ED95D2F009}" type="datetime'''''''1'''''''''''''',''''''''''''4''''''''3''5'''''">
              <a:rPr lang="en-GB" altLang="en-US" sz="900" b="0" smtClean="0">
                <a:solidFill>
                  <a:srgbClr val="ACAEB1"/>
                </a:solidFill>
                <a:latin typeface="Century Schoolbook (Body)"/>
              </a:rPr>
              <a:pPr/>
              <a:t>1,435</a:t>
            </a:fld>
            <a:endParaRPr lang="en-GB" sz="900" b="0" dirty="0">
              <a:solidFill>
                <a:srgbClr val="ACAEB1"/>
              </a:solidFill>
              <a:latin typeface="Century Schoolbook (Body)"/>
              <a:sym typeface="Century Schoolbook (Body)"/>
            </a:endParaRPr>
          </a:p>
        </p:txBody>
      </p:sp>
      <p:sp>
        <p:nvSpPr>
          <p:cNvPr id="8" name="Text Placeholder 2">
            <a:extLst>
              <a:ext uri="{FF2B5EF4-FFF2-40B4-BE49-F238E27FC236}">
                <a16:creationId xmlns:a16="http://schemas.microsoft.com/office/drawing/2014/main" id="{4558BDB8-AF64-AF6C-848F-EEB9521B0050}"/>
              </a:ext>
            </a:extLst>
          </p:cNvPr>
          <p:cNvSpPr>
            <a:spLocks/>
          </p:cNvSpPr>
          <p:nvPr>
            <p:custDataLst>
              <p:tags r:id="rId50"/>
            </p:custDataLst>
          </p:nvPr>
        </p:nvSpPr>
        <p:spPr bwMode="auto">
          <a:xfrm>
            <a:off x="1281113"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44098F6-7D6C-4DAE-B81C-F59F982880DC}" type="datetime'20''1''''''''''''''''''''''''''''''''''''''''''''''''''''0'''">
              <a:rPr lang="en-GB" altLang="en-US" sz="900" b="0" smtClean="0">
                <a:solidFill>
                  <a:srgbClr val="ACAEB1"/>
                </a:solidFill>
                <a:latin typeface="Century Schoolbook (Body)"/>
                <a:sym typeface="Century Schoolbook (Body)"/>
              </a:rPr>
              <a:pPr/>
              <a:t>2010</a:t>
            </a:fld>
            <a:endParaRPr lang="en-GB" sz="900" b="0" dirty="0">
              <a:solidFill>
                <a:srgbClr val="ACAEB1"/>
              </a:solidFill>
              <a:latin typeface="Century Schoolbook (Body)"/>
              <a:sym typeface="Century Schoolbook (Body)"/>
            </a:endParaRPr>
          </a:p>
        </p:txBody>
      </p:sp>
      <p:sp>
        <p:nvSpPr>
          <p:cNvPr id="9" name="Text Placeholder 2">
            <a:extLst>
              <a:ext uri="{FF2B5EF4-FFF2-40B4-BE49-F238E27FC236}">
                <a16:creationId xmlns:a16="http://schemas.microsoft.com/office/drawing/2014/main" id="{18FF5446-E68B-20C5-1A95-A015CF5860C2}"/>
              </a:ext>
            </a:extLst>
          </p:cNvPr>
          <p:cNvSpPr>
            <a:spLocks/>
          </p:cNvSpPr>
          <p:nvPr>
            <p:custDataLst>
              <p:tags r:id="rId51"/>
            </p:custDataLst>
          </p:nvPr>
        </p:nvSpPr>
        <p:spPr bwMode="auto">
          <a:xfrm>
            <a:off x="1949450" y="57562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D0B1043-A742-476C-B939-14C80506C0B6}" type="datetime'''2''''''''''''0''''''11'''''''''''">
              <a:rPr lang="en-GB" altLang="en-US" sz="900" b="0" smtClean="0">
                <a:solidFill>
                  <a:srgbClr val="ACAEB1"/>
                </a:solidFill>
                <a:latin typeface="Century Schoolbook (Body)"/>
                <a:sym typeface="Century Schoolbook (Body)"/>
              </a:rPr>
              <a:pPr/>
              <a:t>2011</a:t>
            </a:fld>
            <a:endParaRPr lang="en-GB" sz="900" b="0" dirty="0">
              <a:solidFill>
                <a:srgbClr val="ACAEB1"/>
              </a:solidFill>
              <a:latin typeface="Century Schoolbook (Body)"/>
              <a:sym typeface="Century Schoolbook (Body)"/>
            </a:endParaRPr>
          </a:p>
        </p:txBody>
      </p:sp>
      <p:sp>
        <p:nvSpPr>
          <p:cNvPr id="80" name="Text Placeholder 2">
            <a:extLst>
              <a:ext uri="{FF2B5EF4-FFF2-40B4-BE49-F238E27FC236}">
                <a16:creationId xmlns:a16="http://schemas.microsoft.com/office/drawing/2014/main" id="{6EAB7490-8FB9-455E-2987-823FEA89EEC6}"/>
              </a:ext>
            </a:extLst>
          </p:cNvPr>
          <p:cNvSpPr>
            <a:spLocks/>
          </p:cNvSpPr>
          <p:nvPr>
            <p:custDataLst>
              <p:tags r:id="rId52"/>
            </p:custDataLst>
          </p:nvPr>
        </p:nvSpPr>
        <p:spPr bwMode="gray">
          <a:xfrm>
            <a:off x="9934575" y="2319338"/>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FD70E55-8453-4120-8400-925EFFE50401}" type="datetime'1'',''''''''''2''9''''''''''''5'''''''''">
              <a:rPr lang="en-GB" altLang="en-US" sz="900" b="0" smtClean="0">
                <a:solidFill>
                  <a:srgbClr val="ACAEB1"/>
                </a:solidFill>
                <a:effectLst/>
                <a:latin typeface="Century Schoolbook (Body)"/>
                <a:sym typeface="Century Schoolbook (Body)"/>
              </a:rPr>
              <a:pPr lvl="0" algn="ctr">
                <a:spcBef>
                  <a:spcPct val="0"/>
                </a:spcBef>
                <a:spcAft>
                  <a:spcPct val="0"/>
                </a:spcAft>
              </a:pPr>
              <a:t>1,295</a:t>
            </a:fld>
            <a:endParaRPr lang="en-GB" sz="900" b="0" dirty="0">
              <a:solidFill>
                <a:srgbClr val="ACAEB1"/>
              </a:solidFill>
              <a:latin typeface="Century Schoolbook (Body)"/>
              <a:sym typeface="Century Schoolbook (Body)"/>
            </a:endParaRPr>
          </a:p>
        </p:txBody>
      </p:sp>
    </p:spTree>
    <p:extLst>
      <p:ext uri="{BB962C8B-B14F-4D97-AF65-F5344CB8AC3E}">
        <p14:creationId xmlns:p14="http://schemas.microsoft.com/office/powerpoint/2010/main" val="3476664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E2720-C323-892A-50C7-E6F63F4FC88F}"/>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B6C46A-764A-99EE-FB9A-98546633B467}"/>
              </a:ext>
            </a:extLst>
          </p:cNvPr>
          <p:cNvGraphicFramePr>
            <a:graphicFrameLocks/>
          </p:cNvGraphicFramePr>
          <p:nvPr>
            <p:custDataLst>
              <p:tags r:id="rId1"/>
            </p:custDataLst>
            <p:extLst>
              <p:ext uri="{D42A27DB-BD31-4B8C-83A1-F6EECF244321}">
                <p14:modId xmlns:p14="http://schemas.microsoft.com/office/powerpoint/2010/main" val="79219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4" name="Object 3" hidden="1">
                        <a:extLst>
                          <a:ext uri="{FF2B5EF4-FFF2-40B4-BE49-F238E27FC236}">
                            <a16:creationId xmlns:a16="http://schemas.microsoft.com/office/drawing/2014/main" id="{6CB6C46A-764A-99EE-FB9A-98546633B46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9B6BE7D8-B376-ABAF-CFAF-1D9F168E3178}"/>
              </a:ext>
            </a:extLst>
          </p:cNvPr>
          <p:cNvSpPr>
            <a:spLocks noGrp="1"/>
          </p:cNvSpPr>
          <p:nvPr>
            <p:ph type="title"/>
          </p:nvPr>
        </p:nvSpPr>
        <p:spPr>
          <a:xfrm>
            <a:off x="438150" y="408720"/>
            <a:ext cx="11328400" cy="610455"/>
          </a:xfrm>
        </p:spPr>
        <p:txBody>
          <a:bodyPr vert="horz" rIns="0"/>
          <a:lstStyle/>
          <a:p>
            <a:r>
              <a:rPr lang="en-GB" sz="2200"/>
              <a:t>UK Out of Home Revenue by Quarter</a:t>
            </a:r>
            <a:endParaRPr lang="en-US"/>
          </a:p>
        </p:txBody>
      </p:sp>
      <p:sp>
        <p:nvSpPr>
          <p:cNvPr id="5" name="Title 1">
            <a:extLst>
              <a:ext uri="{FF2B5EF4-FFF2-40B4-BE49-F238E27FC236}">
                <a16:creationId xmlns:a16="http://schemas.microsoft.com/office/drawing/2014/main" id="{831C6FBF-6290-0DD0-96B3-C74AD94F3C52}"/>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07F14DAF-7817-62A3-B5BE-93615F0E114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3"/>
              </a:ext>
            </a:extLst>
          </a:blip>
          <a:stretch>
            <a:fillRect/>
          </a:stretch>
        </p:blipFill>
        <p:spPr>
          <a:xfrm>
            <a:off x="11161188" y="6279305"/>
            <a:ext cx="605362" cy="294658"/>
          </a:xfrm>
          <a:prstGeom prst="rect">
            <a:avLst/>
          </a:prstGeom>
        </p:spPr>
      </p:pic>
      <p:graphicFrame>
        <p:nvGraphicFramePr>
          <p:cNvPr id="15" name="Chart 14">
            <a:extLst>
              <a:ext uri="{FF2B5EF4-FFF2-40B4-BE49-F238E27FC236}">
                <a16:creationId xmlns:a16="http://schemas.microsoft.com/office/drawing/2014/main" id="{AB09939A-B610-27F2-67D1-48B25BDD016D}"/>
              </a:ext>
            </a:extLst>
          </p:cNvPr>
          <p:cNvGraphicFramePr/>
          <p:nvPr>
            <p:custDataLst>
              <p:tags r:id="rId2"/>
            </p:custDataLst>
            <p:extLst>
              <p:ext uri="{D42A27DB-BD31-4B8C-83A1-F6EECF244321}">
                <p14:modId xmlns:p14="http://schemas.microsoft.com/office/powerpoint/2010/main" val="1530585920"/>
              </p:ext>
            </p:extLst>
          </p:nvPr>
        </p:nvGraphicFramePr>
        <p:xfrm>
          <a:off x="679450" y="1555750"/>
          <a:ext cx="11169650" cy="4281488"/>
        </p:xfrm>
        <a:graphic>
          <a:graphicData uri="http://schemas.openxmlformats.org/drawingml/2006/chart">
            <c:chart xmlns:c="http://schemas.openxmlformats.org/drawingml/2006/chart" xmlns:r="http://schemas.openxmlformats.org/officeDocument/2006/relationships" r:id="rId34"/>
          </a:graphicData>
        </a:graphic>
      </p:graphicFrame>
      <p:sp>
        <p:nvSpPr>
          <p:cNvPr id="53" name="Text Placeholder 2">
            <a:extLst>
              <a:ext uri="{FF2B5EF4-FFF2-40B4-BE49-F238E27FC236}">
                <a16:creationId xmlns:a16="http://schemas.microsoft.com/office/drawing/2014/main" id="{C391C791-E437-31ED-6FD7-2BBB0BC903C5}"/>
              </a:ext>
            </a:extLst>
          </p:cNvPr>
          <p:cNvSpPr>
            <a:spLocks/>
          </p:cNvSpPr>
          <p:nvPr>
            <p:custDataLst>
              <p:tags r:id="rId3"/>
            </p:custDataLst>
          </p:nvPr>
        </p:nvSpPr>
        <p:spPr bwMode="auto">
          <a:xfrm>
            <a:off x="993775" y="14335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r>
              <a:rPr lang="en-GB" sz="900" dirty="0">
                <a:solidFill>
                  <a:srgbClr val="ACAEB1"/>
                </a:solidFill>
                <a:latin typeface="Century Schoolbook (Body)"/>
              </a:rPr>
              <a:t>£m</a:t>
            </a:r>
          </a:p>
        </p:txBody>
      </p:sp>
      <p:sp>
        <p:nvSpPr>
          <p:cNvPr id="8" name="Text Placeholder 2">
            <a:extLst>
              <a:ext uri="{FF2B5EF4-FFF2-40B4-BE49-F238E27FC236}">
                <a16:creationId xmlns:a16="http://schemas.microsoft.com/office/drawing/2014/main" id="{0A618319-8AEC-D68E-4F6D-271D4B092454}"/>
              </a:ext>
            </a:extLst>
          </p:cNvPr>
          <p:cNvSpPr>
            <a:spLocks/>
          </p:cNvSpPr>
          <p:nvPr>
            <p:custDataLst>
              <p:tags r:id="rId4"/>
            </p:custDataLst>
          </p:nvPr>
        </p:nvSpPr>
        <p:spPr bwMode="auto">
          <a:xfrm>
            <a:off x="12620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44098F6-7D6C-4DAE-B81C-F59F982880DC}" type="datetime'20''1''''''''''''''''''''''''''''''''''''''''''''''''''''0'''">
              <a:rPr lang="en-GB" altLang="en-US" sz="900" b="0" smtClean="0">
                <a:solidFill>
                  <a:srgbClr val="ACAEB1"/>
                </a:solidFill>
                <a:latin typeface="Century Schoolbook (Body)"/>
                <a:sym typeface="Century Schoolbook (Body)"/>
              </a:rPr>
              <a:pPr lvl="0" algn="ctr">
                <a:spcBef>
                  <a:spcPct val="0"/>
                </a:spcBef>
                <a:spcAft>
                  <a:spcPct val="0"/>
                </a:spcAft>
              </a:pPr>
              <a:t>2010</a:t>
            </a:fld>
            <a:endParaRPr lang="en-GB" sz="900" b="0" dirty="0">
              <a:solidFill>
                <a:srgbClr val="ACAEB1"/>
              </a:solidFill>
              <a:latin typeface="Century Schoolbook (Body)"/>
              <a:sym typeface="Century Schoolbook (Body)"/>
            </a:endParaRPr>
          </a:p>
        </p:txBody>
      </p:sp>
      <p:sp>
        <p:nvSpPr>
          <p:cNvPr id="9" name="Text Placeholder 2">
            <a:extLst>
              <a:ext uri="{FF2B5EF4-FFF2-40B4-BE49-F238E27FC236}">
                <a16:creationId xmlns:a16="http://schemas.microsoft.com/office/drawing/2014/main" id="{93006A33-5833-D8BA-C368-06F1E16C245A}"/>
              </a:ext>
            </a:extLst>
          </p:cNvPr>
          <p:cNvSpPr>
            <a:spLocks/>
          </p:cNvSpPr>
          <p:nvPr>
            <p:custDataLst>
              <p:tags r:id="rId5"/>
            </p:custDataLst>
          </p:nvPr>
        </p:nvSpPr>
        <p:spPr bwMode="auto">
          <a:xfrm>
            <a:off x="18907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D0B1043-A742-476C-B939-14C80506C0B6}" type="datetime'''2''''''''''''0''''''11'''''''''''">
              <a:rPr lang="en-GB" altLang="en-US" sz="900" b="0" smtClean="0">
                <a:solidFill>
                  <a:srgbClr val="ACAEB1"/>
                </a:solidFill>
                <a:latin typeface="Century Schoolbook (Body)"/>
                <a:sym typeface="Century Schoolbook (Body)"/>
              </a:rPr>
              <a:pPr lvl="0" algn="ctr">
                <a:spcBef>
                  <a:spcPct val="0"/>
                </a:spcBef>
                <a:spcAft>
                  <a:spcPct val="0"/>
                </a:spcAft>
              </a:pPr>
              <a:t>2011</a:t>
            </a:fld>
            <a:endParaRPr lang="en-GB" sz="900" b="0" dirty="0">
              <a:solidFill>
                <a:srgbClr val="ACAEB1"/>
              </a:solidFill>
              <a:latin typeface="Century Schoolbook (Body)"/>
              <a:sym typeface="Century Schoolbook (Body)"/>
            </a:endParaRPr>
          </a:p>
        </p:txBody>
      </p:sp>
      <p:sp>
        <p:nvSpPr>
          <p:cNvPr id="10" name="Text Placeholder 2">
            <a:extLst>
              <a:ext uri="{FF2B5EF4-FFF2-40B4-BE49-F238E27FC236}">
                <a16:creationId xmlns:a16="http://schemas.microsoft.com/office/drawing/2014/main" id="{8C17F6F8-E5D8-DF67-2C5E-73B6B9ECD3E9}"/>
              </a:ext>
            </a:extLst>
          </p:cNvPr>
          <p:cNvSpPr>
            <a:spLocks/>
          </p:cNvSpPr>
          <p:nvPr>
            <p:custDataLst>
              <p:tags r:id="rId6"/>
            </p:custDataLst>
          </p:nvPr>
        </p:nvSpPr>
        <p:spPr bwMode="auto">
          <a:xfrm>
            <a:off x="25193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6CA05AE-7000-4089-84E5-1CAA9D9E3C44}" type="datetime'2''''''''''''''''''''''''''''''''''''0''''12'''''''''''''''">
              <a:rPr lang="en-GB" altLang="en-US" sz="900" b="0" smtClean="0">
                <a:solidFill>
                  <a:srgbClr val="ACAEB1"/>
                </a:solidFill>
                <a:latin typeface="Century Schoolbook (Body)"/>
                <a:sym typeface="Century Schoolbook (Body)"/>
              </a:rPr>
              <a:pPr lvl="0" algn="ctr">
                <a:spcBef>
                  <a:spcPct val="0"/>
                </a:spcBef>
                <a:spcAft>
                  <a:spcPct val="0"/>
                </a:spcAft>
              </a:pPr>
              <a:t>2012</a:t>
            </a:fld>
            <a:endParaRPr lang="en-GB" sz="900" b="0" dirty="0">
              <a:solidFill>
                <a:srgbClr val="ACAEB1"/>
              </a:solidFill>
              <a:latin typeface="Century Schoolbook (Body)"/>
              <a:sym typeface="Century Schoolbook (Body)"/>
            </a:endParaRPr>
          </a:p>
        </p:txBody>
      </p:sp>
      <p:sp>
        <p:nvSpPr>
          <p:cNvPr id="21" name="Text Placeholder 2">
            <a:extLst>
              <a:ext uri="{FF2B5EF4-FFF2-40B4-BE49-F238E27FC236}">
                <a16:creationId xmlns:a16="http://schemas.microsoft.com/office/drawing/2014/main" id="{6E696BB9-480F-F281-500B-AFAD3106863F}"/>
              </a:ext>
            </a:extLst>
          </p:cNvPr>
          <p:cNvSpPr>
            <a:spLocks/>
          </p:cNvSpPr>
          <p:nvPr>
            <p:custDataLst>
              <p:tags r:id="rId7"/>
            </p:custDataLst>
          </p:nvPr>
        </p:nvSpPr>
        <p:spPr bwMode="auto">
          <a:xfrm>
            <a:off x="31480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AD50D7A-7335-4028-8E96-595253C91BA0}" type="datetime'''''''''2''''0''13'''''''''''''''''''''''''''''''''''''">
              <a:rPr lang="en-GB" altLang="en-US" sz="900" b="0" smtClean="0">
                <a:solidFill>
                  <a:srgbClr val="ACAEB1"/>
                </a:solidFill>
                <a:latin typeface="Century Schoolbook (Body)"/>
                <a:sym typeface="Century Schoolbook (Body)"/>
              </a:rPr>
              <a:pPr lvl="0" algn="ctr">
                <a:spcBef>
                  <a:spcPct val="0"/>
                </a:spcBef>
                <a:spcAft>
                  <a:spcPct val="0"/>
                </a:spcAft>
              </a:pPr>
              <a:t>2013</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5D25AF49-4D52-9BA3-7514-88EFEAC89773}"/>
              </a:ext>
            </a:extLst>
          </p:cNvPr>
          <p:cNvSpPr>
            <a:spLocks/>
          </p:cNvSpPr>
          <p:nvPr>
            <p:custDataLst>
              <p:tags r:id="rId8"/>
            </p:custDataLst>
          </p:nvPr>
        </p:nvSpPr>
        <p:spPr bwMode="auto">
          <a:xfrm>
            <a:off x="37766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78395DC-DCC2-45EB-85EE-9EFE8F7629B1}" type="datetime'''''''''''''''''''2''''''''''''01''''''4'''''''''''''">
              <a:rPr lang="en-GB" altLang="en-US" sz="900" b="0" smtClean="0">
                <a:solidFill>
                  <a:srgbClr val="ACAEB1"/>
                </a:solidFill>
                <a:latin typeface="Century Schoolbook (Body)"/>
                <a:sym typeface="Century Schoolbook (Body)"/>
              </a:rPr>
              <a:pPr lvl="0" algn="ctr">
                <a:spcBef>
                  <a:spcPct val="0"/>
                </a:spcBef>
                <a:spcAft>
                  <a:spcPct val="0"/>
                </a:spcAft>
              </a:pPr>
              <a:t>2014</a:t>
            </a:fld>
            <a:endParaRPr lang="en-GB" sz="900" b="0" dirty="0">
              <a:solidFill>
                <a:srgbClr val="ACAEB1"/>
              </a:solidFill>
              <a:latin typeface="Century Schoolbook (Body)"/>
              <a:sym typeface="Century Schoolbook (Body)"/>
            </a:endParaRPr>
          </a:p>
        </p:txBody>
      </p:sp>
      <p:sp>
        <p:nvSpPr>
          <p:cNvPr id="23" name="Text Placeholder 2">
            <a:extLst>
              <a:ext uri="{FF2B5EF4-FFF2-40B4-BE49-F238E27FC236}">
                <a16:creationId xmlns:a16="http://schemas.microsoft.com/office/drawing/2014/main" id="{28071AB2-4DF6-7EC0-4E4A-6357246D1515}"/>
              </a:ext>
            </a:extLst>
          </p:cNvPr>
          <p:cNvSpPr>
            <a:spLocks/>
          </p:cNvSpPr>
          <p:nvPr>
            <p:custDataLst>
              <p:tags r:id="rId9"/>
            </p:custDataLst>
          </p:nvPr>
        </p:nvSpPr>
        <p:spPr bwMode="auto">
          <a:xfrm>
            <a:off x="44053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AC8A59C-63F1-46CA-82AE-3E144527C542}" type="datetime'''''''''2''''0''''''''''''''1''5'''''''''''''">
              <a:rPr lang="en-GB" altLang="en-US" sz="900" b="0" smtClean="0">
                <a:solidFill>
                  <a:srgbClr val="ACAEB1"/>
                </a:solidFill>
                <a:latin typeface="Century Schoolbook (Body)"/>
                <a:sym typeface="Century Schoolbook (Body)"/>
              </a:rPr>
              <a:pPr lvl="0" algn="ctr">
                <a:spcBef>
                  <a:spcPct val="0"/>
                </a:spcBef>
                <a:spcAft>
                  <a:spcPct val="0"/>
                </a:spcAft>
              </a:pPr>
              <a:t>2015</a:t>
            </a:fld>
            <a:endParaRPr lang="en-GB" sz="900" b="0" dirty="0">
              <a:solidFill>
                <a:srgbClr val="ACAEB1"/>
              </a:solidFill>
              <a:latin typeface="Century Schoolbook (Body)"/>
              <a:sym typeface="Century Schoolbook (Body)"/>
            </a:endParaRPr>
          </a:p>
        </p:txBody>
      </p:sp>
      <p:sp>
        <p:nvSpPr>
          <p:cNvPr id="24" name="Text Placeholder 2">
            <a:extLst>
              <a:ext uri="{FF2B5EF4-FFF2-40B4-BE49-F238E27FC236}">
                <a16:creationId xmlns:a16="http://schemas.microsoft.com/office/drawing/2014/main" id="{99D9FE81-8EA3-F8B5-9EC2-FFD3D9230448}"/>
              </a:ext>
            </a:extLst>
          </p:cNvPr>
          <p:cNvSpPr>
            <a:spLocks/>
          </p:cNvSpPr>
          <p:nvPr>
            <p:custDataLst>
              <p:tags r:id="rId10"/>
            </p:custDataLst>
          </p:nvPr>
        </p:nvSpPr>
        <p:spPr bwMode="auto">
          <a:xfrm>
            <a:off x="50339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707919-99A9-4C13-B131-56B8D9E27ED7}" type="datetime'''''''''''''2''''''''''''''''''0''1''''''''6'''''''''''''''''">
              <a:rPr lang="en-GB" altLang="en-US" sz="900" b="0" smtClean="0">
                <a:solidFill>
                  <a:srgbClr val="ACAEB1"/>
                </a:solidFill>
                <a:latin typeface="Century Schoolbook (Body)"/>
                <a:sym typeface="Century Schoolbook (Body)"/>
              </a:rPr>
              <a:pPr lvl="0" algn="ctr">
                <a:spcBef>
                  <a:spcPct val="0"/>
                </a:spcBef>
                <a:spcAft>
                  <a:spcPct val="0"/>
                </a:spcAft>
              </a:pPr>
              <a:t>2016</a:t>
            </a:fld>
            <a:endParaRPr lang="en-GB" sz="900" b="0" dirty="0">
              <a:solidFill>
                <a:srgbClr val="ACAEB1"/>
              </a:solidFill>
              <a:latin typeface="Century Schoolbook (Body)"/>
              <a:sym typeface="Century Schoolbook (Body)"/>
            </a:endParaRPr>
          </a:p>
        </p:txBody>
      </p:sp>
      <p:sp>
        <p:nvSpPr>
          <p:cNvPr id="25" name="Text Placeholder 2">
            <a:extLst>
              <a:ext uri="{FF2B5EF4-FFF2-40B4-BE49-F238E27FC236}">
                <a16:creationId xmlns:a16="http://schemas.microsoft.com/office/drawing/2014/main" id="{891FF9BD-837F-3805-E52C-B3D601857979}"/>
              </a:ext>
            </a:extLst>
          </p:cNvPr>
          <p:cNvSpPr>
            <a:spLocks/>
          </p:cNvSpPr>
          <p:nvPr>
            <p:custDataLst>
              <p:tags r:id="rId11"/>
            </p:custDataLst>
          </p:nvPr>
        </p:nvSpPr>
        <p:spPr bwMode="auto">
          <a:xfrm>
            <a:off x="56626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396D9AF-4969-4D63-BC81-A43CC8F8B4E4}" type="datetime'''''''''''2''''''''''''''''0''''''''1''''''''''''''7'''''">
              <a:rPr lang="en-GB" altLang="en-US" sz="900" b="0" smtClean="0">
                <a:solidFill>
                  <a:srgbClr val="ACAEB1"/>
                </a:solidFill>
                <a:latin typeface="Century Schoolbook (Body)"/>
                <a:sym typeface="Century Schoolbook (Body)"/>
              </a:rPr>
              <a:pPr lvl="0" algn="ctr">
                <a:spcBef>
                  <a:spcPct val="0"/>
                </a:spcBef>
                <a:spcAft>
                  <a:spcPct val="0"/>
                </a:spcAft>
              </a:pPr>
              <a:t>2017</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E37AB6C3-7949-3A91-DD70-C5ED93F6E84C}"/>
              </a:ext>
            </a:extLst>
          </p:cNvPr>
          <p:cNvSpPr>
            <a:spLocks/>
          </p:cNvSpPr>
          <p:nvPr>
            <p:custDataLst>
              <p:tags r:id="rId12"/>
            </p:custDataLst>
          </p:nvPr>
        </p:nvSpPr>
        <p:spPr bwMode="auto">
          <a:xfrm>
            <a:off x="62896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00C3C22-2054-4896-AE2C-86B2792A702C}" type="datetime'''''''''''''''''''''''''''''''''''''''''''''2''0''18'''''''''">
              <a:rPr lang="en-GB" altLang="en-US" sz="900" b="0" smtClean="0">
                <a:solidFill>
                  <a:srgbClr val="ACAEB1"/>
                </a:solidFill>
                <a:latin typeface="Century Schoolbook (Body)"/>
                <a:sym typeface="Century Schoolbook (Body)"/>
              </a:rPr>
              <a:pPr lvl="0" algn="ctr">
                <a:spcBef>
                  <a:spcPct val="0"/>
                </a:spcBef>
                <a:spcAft>
                  <a:spcPct val="0"/>
                </a:spcAft>
              </a:pPr>
              <a:t>2018</a:t>
            </a:fld>
            <a:endParaRPr lang="en-GB" sz="900" b="0" dirty="0">
              <a:solidFill>
                <a:srgbClr val="ACAEB1"/>
              </a:solidFill>
              <a:latin typeface="Century Schoolbook (Body)"/>
              <a:sym typeface="Century Schoolbook (Body)"/>
            </a:endParaRPr>
          </a:p>
        </p:txBody>
      </p:sp>
      <p:sp>
        <p:nvSpPr>
          <p:cNvPr id="27" name="Text Placeholder 2">
            <a:extLst>
              <a:ext uri="{FF2B5EF4-FFF2-40B4-BE49-F238E27FC236}">
                <a16:creationId xmlns:a16="http://schemas.microsoft.com/office/drawing/2014/main" id="{39FC4D74-7EDE-F673-D63F-3378D6D94299}"/>
              </a:ext>
            </a:extLst>
          </p:cNvPr>
          <p:cNvSpPr>
            <a:spLocks/>
          </p:cNvSpPr>
          <p:nvPr>
            <p:custDataLst>
              <p:tags r:id="rId13"/>
            </p:custDataLst>
          </p:nvPr>
        </p:nvSpPr>
        <p:spPr bwMode="auto">
          <a:xfrm>
            <a:off x="69183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2F3890E-9B97-42B6-A26D-0351E565494F}" type="datetime'''''''''''''''''''2''0''''''''''''''''''''''''''''1''9'''''">
              <a:rPr lang="en-GB" altLang="en-US" sz="900" b="0" smtClean="0">
                <a:solidFill>
                  <a:srgbClr val="ACAEB1"/>
                </a:solidFill>
                <a:latin typeface="Century Schoolbook (Body)"/>
                <a:sym typeface="Century Schoolbook (Body)"/>
              </a:rPr>
              <a:pPr lvl="0" algn="ctr">
                <a:spcBef>
                  <a:spcPct val="0"/>
                </a:spcBef>
                <a:spcAft>
                  <a:spcPct val="0"/>
                </a:spcAft>
              </a:pPr>
              <a:t>2019</a:t>
            </a:fld>
            <a:endParaRPr lang="en-GB" sz="900" b="0" dirty="0">
              <a:solidFill>
                <a:srgbClr val="ACAEB1"/>
              </a:solidFill>
              <a:latin typeface="Century Schoolbook (Body)"/>
              <a:sym typeface="Century Schoolbook (Body)"/>
            </a:endParaRPr>
          </a:p>
        </p:txBody>
      </p:sp>
      <p:sp>
        <p:nvSpPr>
          <p:cNvPr id="28" name="Text Placeholder 2">
            <a:extLst>
              <a:ext uri="{FF2B5EF4-FFF2-40B4-BE49-F238E27FC236}">
                <a16:creationId xmlns:a16="http://schemas.microsoft.com/office/drawing/2014/main" id="{11128CA5-F89E-3A58-78FA-967D1FD31C36}"/>
              </a:ext>
            </a:extLst>
          </p:cNvPr>
          <p:cNvSpPr>
            <a:spLocks/>
          </p:cNvSpPr>
          <p:nvPr>
            <p:custDataLst>
              <p:tags r:id="rId14"/>
            </p:custDataLst>
          </p:nvPr>
        </p:nvSpPr>
        <p:spPr bwMode="auto">
          <a:xfrm>
            <a:off x="75469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F8E96C-2E11-4023-96EA-25C0CCCE82AB}" type="datetime'2''''0''''20'''''''''''''''">
              <a:rPr lang="en-GB" altLang="en-US" sz="900" b="0" smtClean="0">
                <a:solidFill>
                  <a:srgbClr val="ACAEB1"/>
                </a:solidFill>
                <a:latin typeface="Century Schoolbook (Body)"/>
                <a:sym typeface="Century Schoolbook (Body)"/>
              </a:rPr>
              <a:pPr lvl="0" algn="ctr">
                <a:spcBef>
                  <a:spcPct val="0"/>
                </a:spcBef>
                <a:spcAft>
                  <a:spcPct val="0"/>
                </a:spcAft>
              </a:pPr>
              <a:t>2020</a:t>
            </a:fld>
            <a:endParaRPr lang="en-GB" sz="900" b="0" dirty="0">
              <a:solidFill>
                <a:srgbClr val="ACAEB1"/>
              </a:solidFill>
              <a:latin typeface="Century Schoolbook (Body)"/>
              <a:sym typeface="Century Schoolbook (Body)"/>
            </a:endParaRPr>
          </a:p>
        </p:txBody>
      </p:sp>
      <p:sp>
        <p:nvSpPr>
          <p:cNvPr id="29" name="Text Placeholder 2">
            <a:extLst>
              <a:ext uri="{FF2B5EF4-FFF2-40B4-BE49-F238E27FC236}">
                <a16:creationId xmlns:a16="http://schemas.microsoft.com/office/drawing/2014/main" id="{255996F3-A2C3-7D91-AB4D-EC671538BFC5}"/>
              </a:ext>
            </a:extLst>
          </p:cNvPr>
          <p:cNvSpPr>
            <a:spLocks/>
          </p:cNvSpPr>
          <p:nvPr>
            <p:custDataLst>
              <p:tags r:id="rId15"/>
            </p:custDataLst>
          </p:nvPr>
        </p:nvSpPr>
        <p:spPr bwMode="auto">
          <a:xfrm>
            <a:off x="81756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B490462-5C06-4AC0-8613-FA51F00BB7AB}" type="datetime'''''''''2''''''''''''''''''''0''''''''''2''''1'''''''''">
              <a:rPr lang="en-GB" altLang="en-US" sz="900" b="0" smtClean="0">
                <a:solidFill>
                  <a:srgbClr val="ACAEB1"/>
                </a:solidFill>
                <a:latin typeface="Century Schoolbook (Body)"/>
                <a:sym typeface="Century Schoolbook (Body)"/>
              </a:rPr>
              <a:pPr lvl="0" algn="ctr">
                <a:spcBef>
                  <a:spcPct val="0"/>
                </a:spcBef>
                <a:spcAft>
                  <a:spcPct val="0"/>
                </a:spcAft>
              </a:pPr>
              <a:t>2021</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F2669C8E-3890-13C6-EF29-C81680A39709}"/>
              </a:ext>
            </a:extLst>
          </p:cNvPr>
          <p:cNvSpPr>
            <a:spLocks/>
          </p:cNvSpPr>
          <p:nvPr>
            <p:custDataLst>
              <p:tags r:id="rId16"/>
            </p:custDataLst>
          </p:nvPr>
        </p:nvSpPr>
        <p:spPr bwMode="auto">
          <a:xfrm>
            <a:off x="88042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F3FA6AB6-38A8-4795-A75C-C4A92EB30FB7}" type="datetime'''20''''''''''''''2''''''''''''''''''''''''2'''''''''''''">
              <a:rPr lang="en-GB" altLang="en-US" sz="900" b="0" smtClean="0">
                <a:solidFill>
                  <a:srgbClr val="ACAEB1"/>
                </a:solidFill>
                <a:latin typeface="Century Schoolbook (Body)"/>
                <a:sym typeface="Century Schoolbook (Body)"/>
              </a:rPr>
              <a:pPr lvl="0" algn="ctr">
                <a:spcBef>
                  <a:spcPct val="0"/>
                </a:spcBef>
                <a:spcAft>
                  <a:spcPct val="0"/>
                </a:spcAft>
              </a:pPr>
              <a:t>2022</a:t>
            </a:fld>
            <a:endParaRPr lang="en-GB" sz="900" b="0" dirty="0">
              <a:solidFill>
                <a:srgbClr val="ACAEB1"/>
              </a:solidFill>
              <a:latin typeface="Century Schoolbook (Body)"/>
              <a:sym typeface="Century Schoolbook (Body)"/>
            </a:endParaRPr>
          </a:p>
        </p:txBody>
      </p:sp>
      <p:sp>
        <p:nvSpPr>
          <p:cNvPr id="31" name="Text Placeholder 2">
            <a:extLst>
              <a:ext uri="{FF2B5EF4-FFF2-40B4-BE49-F238E27FC236}">
                <a16:creationId xmlns:a16="http://schemas.microsoft.com/office/drawing/2014/main" id="{64891BF8-FA1C-FDA2-7F11-DF50C55FE944}"/>
              </a:ext>
            </a:extLst>
          </p:cNvPr>
          <p:cNvSpPr>
            <a:spLocks/>
          </p:cNvSpPr>
          <p:nvPr>
            <p:custDataLst>
              <p:tags r:id="rId17"/>
            </p:custDataLst>
          </p:nvPr>
        </p:nvSpPr>
        <p:spPr bwMode="auto">
          <a:xfrm>
            <a:off x="94329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4401756-F123-4A0E-B88A-8ECC2DCD3FD2}" type="datetime'''''''''''''''''''2''''''''0''''''''''''2''''''''''''''3'">
              <a:rPr lang="en-GB" altLang="en-US" sz="900" b="0" smtClean="0">
                <a:solidFill>
                  <a:srgbClr val="ACAEB1"/>
                </a:solidFill>
                <a:latin typeface="Century Schoolbook (Body)"/>
                <a:sym typeface="Century Schoolbook (Body)"/>
              </a:rPr>
              <a:pPr lvl="0" algn="ctr">
                <a:spcBef>
                  <a:spcPct val="0"/>
                </a:spcBef>
                <a:spcAft>
                  <a:spcPct val="0"/>
                </a:spcAft>
              </a:pPr>
              <a:t>2023</a:t>
            </a:fld>
            <a:endParaRPr lang="en-GB" sz="900" b="0" dirty="0">
              <a:solidFill>
                <a:srgbClr val="ACAEB1"/>
              </a:solidFill>
              <a:latin typeface="Century Schoolbook (Body)"/>
              <a:sym typeface="Century Schoolbook (Body)"/>
            </a:endParaRPr>
          </a:p>
        </p:txBody>
      </p:sp>
      <p:sp>
        <p:nvSpPr>
          <p:cNvPr id="32" name="Text Placeholder 2">
            <a:extLst>
              <a:ext uri="{FF2B5EF4-FFF2-40B4-BE49-F238E27FC236}">
                <a16:creationId xmlns:a16="http://schemas.microsoft.com/office/drawing/2014/main" id="{9F8E3E99-2646-B0B0-0815-70F1A56D05C9}"/>
              </a:ext>
            </a:extLst>
          </p:cNvPr>
          <p:cNvSpPr>
            <a:spLocks/>
          </p:cNvSpPr>
          <p:nvPr>
            <p:custDataLst>
              <p:tags r:id="rId18"/>
            </p:custDataLst>
          </p:nvPr>
        </p:nvSpPr>
        <p:spPr bwMode="auto">
          <a:xfrm>
            <a:off x="100615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234E3D1-D44C-4BFC-BC2B-0BF58E4BE7CB}" type="datetime'2''''''''''0''''''''''''''2''''''''''''''4'''''''''''">
              <a:rPr lang="en-GB" altLang="en-US" sz="900" b="0" smtClean="0">
                <a:solidFill>
                  <a:srgbClr val="ACAEB1"/>
                </a:solidFill>
                <a:latin typeface="Century Schoolbook (Body)"/>
                <a:sym typeface="Century Schoolbook (Body)"/>
              </a:rPr>
              <a:pPr lvl="0" algn="ctr">
                <a:spcBef>
                  <a:spcPct val="0"/>
                </a:spcBef>
                <a:spcAft>
                  <a:spcPct val="0"/>
                </a:spcAft>
              </a:pPr>
              <a:t>2024</a:t>
            </a:fld>
            <a:endParaRPr lang="en-GB" sz="900" b="0" dirty="0">
              <a:solidFill>
                <a:srgbClr val="ACAEB1"/>
              </a:solidFill>
              <a:latin typeface="Century Schoolbook (Body)"/>
              <a:sym typeface="Century Schoolbook (Body)"/>
            </a:endParaRPr>
          </a:p>
        </p:txBody>
      </p:sp>
      <p:sp>
        <p:nvSpPr>
          <p:cNvPr id="40" name="Text Placeholder 2">
            <a:extLst>
              <a:ext uri="{FF2B5EF4-FFF2-40B4-BE49-F238E27FC236}">
                <a16:creationId xmlns:a16="http://schemas.microsoft.com/office/drawing/2014/main" id="{B6229DC2-8A19-68ED-F92C-DCF2C159C3D3}"/>
              </a:ext>
            </a:extLst>
          </p:cNvPr>
          <p:cNvSpPr>
            <a:spLocks/>
          </p:cNvSpPr>
          <p:nvPr>
            <p:custDataLst>
              <p:tags r:id="rId19"/>
            </p:custDataLst>
          </p:nvPr>
        </p:nvSpPr>
        <p:spPr bwMode="auto">
          <a:xfrm>
            <a:off x="106902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5746612-928A-4596-909D-CA66694A2AF5}" type="datetime'''''2''''''''''''''02''''''''''''''''''''''''5'''''''''''''">
              <a:rPr lang="en-GB" altLang="en-US" sz="900" b="0" smtClean="0">
                <a:solidFill>
                  <a:srgbClr val="ACAEB1"/>
                </a:solidFill>
                <a:latin typeface="Century Schoolbook (Body)"/>
              </a:rPr>
              <a:pPr lvl="0" algn="ctr">
                <a:spcBef>
                  <a:spcPct val="0"/>
                </a:spcBef>
                <a:spcAft>
                  <a:spcPct val="0"/>
                </a:spcAft>
              </a:pPr>
              <a:t>2025</a:t>
            </a:fld>
            <a:endParaRPr lang="en-GB" sz="900" b="0" dirty="0">
              <a:solidFill>
                <a:srgbClr val="ACAEB1"/>
              </a:solidFill>
              <a:latin typeface="Century Schoolbook (Body)"/>
              <a:sym typeface="Century Schoolbook (Body)"/>
            </a:endParaRPr>
          </a:p>
        </p:txBody>
      </p:sp>
      <p:sp>
        <p:nvSpPr>
          <p:cNvPr id="6" name="Text Placeholder 2">
            <a:extLst>
              <a:ext uri="{FF2B5EF4-FFF2-40B4-BE49-F238E27FC236}">
                <a16:creationId xmlns:a16="http://schemas.microsoft.com/office/drawing/2014/main" id="{A5E29A81-22EC-835B-03D4-D1CB78B1DD77}"/>
              </a:ext>
            </a:extLst>
          </p:cNvPr>
          <p:cNvSpPr>
            <a:spLocks/>
          </p:cNvSpPr>
          <p:nvPr>
            <p:custDataLst>
              <p:tags r:id="rId20"/>
            </p:custDataLst>
          </p:nvPr>
        </p:nvSpPr>
        <p:spPr bwMode="auto">
          <a:xfrm>
            <a:off x="113188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0869DC5-9B98-41B7-9403-F68A4B8D75B9}" type="datetime'''''''''''''''''''''''''2''''''''''02''''''6'''">
              <a:rPr lang="en-GB" altLang="en-US" sz="900" b="0" smtClean="0">
                <a:solidFill>
                  <a:srgbClr val="ACAEB1"/>
                </a:solidFill>
                <a:latin typeface="Century Schoolbook (Body)"/>
              </a:rPr>
              <a:pPr lvl="0" algn="ctr">
                <a:spcBef>
                  <a:spcPct val="0"/>
                </a:spcBef>
                <a:spcAft>
                  <a:spcPct val="0"/>
                </a:spcAft>
              </a:pPr>
              <a:t>2026</a:t>
            </a:fld>
            <a:endParaRPr lang="en-GB" sz="900" b="0" dirty="0">
              <a:solidFill>
                <a:srgbClr val="ACAEB1"/>
              </a:solidFill>
              <a:latin typeface="Century Schoolbook (Body)"/>
              <a:sym typeface="Century Schoolbook (Body)"/>
            </a:endParaRPr>
          </a:p>
        </p:txBody>
      </p:sp>
      <p:sp>
        <p:nvSpPr>
          <p:cNvPr id="220" name="Rectangle 219">
            <a:extLst>
              <a:ext uri="{FF2B5EF4-FFF2-40B4-BE49-F238E27FC236}">
                <a16:creationId xmlns:a16="http://schemas.microsoft.com/office/drawing/2014/main" id="{FF97D6AD-B60A-D14F-83FA-E60A6DFF68DC}"/>
              </a:ext>
            </a:extLst>
          </p:cNvPr>
          <p:cNvSpPr/>
          <p:nvPr>
            <p:custDataLst>
              <p:tags r:id="rId21"/>
            </p:custDataLst>
          </p:nvPr>
        </p:nvSpPr>
        <p:spPr bwMode="auto">
          <a:xfrm>
            <a:off x="5302250" y="5932488"/>
            <a:ext cx="160338" cy="120650"/>
          </a:xfrm>
          <a:prstGeom prst="rect">
            <a:avLst/>
          </a:prstGeom>
          <a:solidFill>
            <a:srgbClr val="7030A0"/>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1" name="Rectangle 220">
            <a:extLst>
              <a:ext uri="{FF2B5EF4-FFF2-40B4-BE49-F238E27FC236}">
                <a16:creationId xmlns:a16="http://schemas.microsoft.com/office/drawing/2014/main" id="{85BDD98B-4B31-4748-5016-EA61D183479E}"/>
              </a:ext>
            </a:extLst>
          </p:cNvPr>
          <p:cNvSpPr/>
          <p:nvPr>
            <p:custDataLst>
              <p:tags r:id="rId22"/>
            </p:custDataLst>
          </p:nvPr>
        </p:nvSpPr>
        <p:spPr bwMode="auto">
          <a:xfrm>
            <a:off x="5767388" y="5932488"/>
            <a:ext cx="160338" cy="120650"/>
          </a:xfrm>
          <a:prstGeom prst="rect">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2" name="Rectangle 221">
            <a:extLst>
              <a:ext uri="{FF2B5EF4-FFF2-40B4-BE49-F238E27FC236}">
                <a16:creationId xmlns:a16="http://schemas.microsoft.com/office/drawing/2014/main" id="{B8A826AD-FA22-5CC5-145E-71A98F7546C8}"/>
              </a:ext>
            </a:extLst>
          </p:cNvPr>
          <p:cNvSpPr/>
          <p:nvPr>
            <p:custDataLst>
              <p:tags r:id="rId23"/>
            </p:custDataLst>
          </p:nvPr>
        </p:nvSpPr>
        <p:spPr bwMode="auto">
          <a:xfrm>
            <a:off x="6232525" y="5932488"/>
            <a:ext cx="160338" cy="120650"/>
          </a:xfrm>
          <a:prstGeom prst="rect">
            <a:avLst/>
          </a:prstGeom>
          <a:solidFill>
            <a:schemeClr val="accent3"/>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3" name="Rectangle 222">
            <a:extLst>
              <a:ext uri="{FF2B5EF4-FFF2-40B4-BE49-F238E27FC236}">
                <a16:creationId xmlns:a16="http://schemas.microsoft.com/office/drawing/2014/main" id="{40171FDE-781C-6610-111D-CF81E2DD68FB}"/>
              </a:ext>
            </a:extLst>
          </p:cNvPr>
          <p:cNvSpPr/>
          <p:nvPr>
            <p:custDataLst>
              <p:tags r:id="rId24"/>
            </p:custDataLst>
          </p:nvPr>
        </p:nvSpPr>
        <p:spPr bwMode="auto">
          <a:xfrm>
            <a:off x="6697663" y="5932488"/>
            <a:ext cx="160338" cy="120650"/>
          </a:xfrm>
          <a:prstGeom prst="rect">
            <a:avLst/>
          </a:prstGeom>
          <a:solidFill>
            <a:srgbClr val="10CABC"/>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6" name="Text Placeholder 2">
            <a:extLst>
              <a:ext uri="{FF2B5EF4-FFF2-40B4-BE49-F238E27FC236}">
                <a16:creationId xmlns:a16="http://schemas.microsoft.com/office/drawing/2014/main" id="{AF0F2C98-2E21-54ED-1933-4E7ED41088FF}"/>
              </a:ext>
            </a:extLst>
          </p:cNvPr>
          <p:cNvSpPr>
            <a:spLocks/>
          </p:cNvSpPr>
          <p:nvPr>
            <p:custDataLst>
              <p:tags r:id="rId25"/>
            </p:custDataLst>
          </p:nvPr>
        </p:nvSpPr>
        <p:spPr bwMode="auto">
          <a:xfrm>
            <a:off x="5513388" y="5929313"/>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C5D2A4E5-1303-44D8-BE40-E9424850D0C8}" type="datetime'''''''''''''''''''''''''Q''''''''''''''''''''1'">
              <a:rPr lang="en-GB" altLang="en-US" sz="900" b="0" smtClean="0">
                <a:solidFill>
                  <a:srgbClr val="ACAEB1"/>
                </a:solidFill>
                <a:effectLst/>
                <a:latin typeface="Century Schoolbook (Body)"/>
                <a:sym typeface="Century Schoolbook (Body)"/>
              </a:rPr>
              <a:pPr lvl="0">
                <a:spcBef>
                  <a:spcPct val="0"/>
                </a:spcBef>
                <a:spcAft>
                  <a:spcPct val="0"/>
                </a:spcAft>
              </a:pPr>
              <a:t>Q1</a:t>
            </a:fld>
            <a:endParaRPr lang="en-GB" sz="900" b="0" dirty="0">
              <a:solidFill>
                <a:srgbClr val="ACAEB1"/>
              </a:solidFill>
              <a:latin typeface="Century Schoolbook (Body)"/>
              <a:sym typeface="Century Schoolbook (Body)"/>
            </a:endParaRPr>
          </a:p>
        </p:txBody>
      </p:sp>
      <p:sp>
        <p:nvSpPr>
          <p:cNvPr id="214" name="Text Placeholder 2">
            <a:extLst>
              <a:ext uri="{FF2B5EF4-FFF2-40B4-BE49-F238E27FC236}">
                <a16:creationId xmlns:a16="http://schemas.microsoft.com/office/drawing/2014/main" id="{ADE2F6B3-CB22-3F7E-DA55-6E82E5F6FAA6}"/>
              </a:ext>
            </a:extLst>
          </p:cNvPr>
          <p:cNvSpPr>
            <a:spLocks/>
          </p:cNvSpPr>
          <p:nvPr>
            <p:custDataLst>
              <p:tags r:id="rId26"/>
            </p:custDataLst>
          </p:nvPr>
        </p:nvSpPr>
        <p:spPr bwMode="auto">
          <a:xfrm>
            <a:off x="5978525" y="5929313"/>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7613621E-0373-4052-8371-FCA117D5DB21}" type="datetime'''''''''''''''''''''''''''''''''''Q''''2'''''">
              <a:rPr lang="en-GB" altLang="en-US" sz="900" b="0" smtClean="0">
                <a:solidFill>
                  <a:srgbClr val="ACAEB1"/>
                </a:solidFill>
                <a:effectLst/>
                <a:latin typeface="Century Schoolbook (Body)"/>
                <a:sym typeface="Century Schoolbook (Body)"/>
              </a:rPr>
              <a:pPr lvl="0">
                <a:spcBef>
                  <a:spcPct val="0"/>
                </a:spcBef>
                <a:spcAft>
                  <a:spcPct val="0"/>
                </a:spcAft>
              </a:pPr>
              <a:t>Q2</a:t>
            </a:fld>
            <a:endParaRPr lang="en-GB" sz="900" b="0" dirty="0">
              <a:solidFill>
                <a:srgbClr val="ACAEB1"/>
              </a:solidFill>
              <a:latin typeface="Century Schoolbook (Body)"/>
              <a:sym typeface="Century Schoolbook (Body)"/>
            </a:endParaRPr>
          </a:p>
        </p:txBody>
      </p:sp>
      <p:sp>
        <p:nvSpPr>
          <p:cNvPr id="217" name="Text Placeholder 2">
            <a:extLst>
              <a:ext uri="{FF2B5EF4-FFF2-40B4-BE49-F238E27FC236}">
                <a16:creationId xmlns:a16="http://schemas.microsoft.com/office/drawing/2014/main" id="{1E453B2F-3CA8-8A4F-4D60-AB74ED86D6B4}"/>
              </a:ext>
            </a:extLst>
          </p:cNvPr>
          <p:cNvSpPr>
            <a:spLocks/>
          </p:cNvSpPr>
          <p:nvPr>
            <p:custDataLst>
              <p:tags r:id="rId27"/>
            </p:custDataLst>
          </p:nvPr>
        </p:nvSpPr>
        <p:spPr bwMode="auto">
          <a:xfrm>
            <a:off x="6443663" y="5929313"/>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36E68AFF-215B-47DF-89E7-DFDDC2053A5A}" type="datetime'Q3'''''''''''''''''''''''''">
              <a:rPr lang="en-GB" altLang="en-US" sz="900" b="0" smtClean="0">
                <a:solidFill>
                  <a:srgbClr val="ACAEB1"/>
                </a:solidFill>
                <a:effectLst/>
                <a:latin typeface="Century Schoolbook (Body)"/>
                <a:sym typeface="Century Schoolbook (Body)"/>
              </a:rPr>
              <a:pPr lvl="0">
                <a:spcBef>
                  <a:spcPct val="0"/>
                </a:spcBef>
                <a:spcAft>
                  <a:spcPct val="0"/>
                </a:spcAft>
              </a:pPr>
              <a:t>Q3</a:t>
            </a:fld>
            <a:endParaRPr lang="en-GB" sz="900" b="0" dirty="0">
              <a:solidFill>
                <a:srgbClr val="ACAEB1"/>
              </a:solidFill>
              <a:latin typeface="Century Schoolbook (Body)"/>
              <a:sym typeface="Century Schoolbook (Body)"/>
            </a:endParaRPr>
          </a:p>
        </p:txBody>
      </p:sp>
      <p:sp>
        <p:nvSpPr>
          <p:cNvPr id="218" name="Text Placeholder 2">
            <a:extLst>
              <a:ext uri="{FF2B5EF4-FFF2-40B4-BE49-F238E27FC236}">
                <a16:creationId xmlns:a16="http://schemas.microsoft.com/office/drawing/2014/main" id="{B5E67CA7-F526-2479-BF69-EB250A349A87}"/>
              </a:ext>
            </a:extLst>
          </p:cNvPr>
          <p:cNvSpPr>
            <a:spLocks/>
          </p:cNvSpPr>
          <p:nvPr>
            <p:custDataLst>
              <p:tags r:id="rId28"/>
            </p:custDataLst>
          </p:nvPr>
        </p:nvSpPr>
        <p:spPr bwMode="auto">
          <a:xfrm>
            <a:off x="6908800" y="5929313"/>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3B5F17C0-8756-4896-80C9-4B236D51AB9A}" type="datetime'Q''''''''''''''''''''''''''''''''''''''''''''''4'">
              <a:rPr lang="en-GB" altLang="en-US" sz="900" b="0" smtClean="0">
                <a:solidFill>
                  <a:srgbClr val="ACAEB1"/>
                </a:solidFill>
                <a:effectLst/>
                <a:latin typeface="Century Schoolbook (Body)"/>
                <a:sym typeface="Century Schoolbook (Body)"/>
              </a:rPr>
              <a:pPr lvl="0">
                <a:spcBef>
                  <a:spcPct val="0"/>
                </a:spcBef>
                <a:spcAft>
                  <a:spcPct val="0"/>
                </a:spcAft>
              </a:pPr>
              <a:t>Q4</a:t>
            </a:fld>
            <a:endParaRPr lang="en-GB" sz="900" b="0" dirty="0">
              <a:solidFill>
                <a:srgbClr val="ACAEB1"/>
              </a:solidFill>
              <a:latin typeface="Century Schoolbook (Body)"/>
              <a:sym typeface="Century Schoolbook (Body)"/>
            </a:endParaRPr>
          </a:p>
        </p:txBody>
      </p:sp>
    </p:spTree>
    <p:extLst>
      <p:ext uri="{BB962C8B-B14F-4D97-AF65-F5344CB8AC3E}">
        <p14:creationId xmlns:p14="http://schemas.microsoft.com/office/powerpoint/2010/main" val="3257039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6AB5C-7DE4-57F4-7051-C8AAB571DDBE}"/>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80B8ADA-92D6-9331-5ED0-A7246C3399EE}"/>
              </a:ext>
            </a:extLst>
          </p:cNvPr>
          <p:cNvGraphicFramePr>
            <a:graphicFrameLocks/>
          </p:cNvGraphicFramePr>
          <p:nvPr>
            <p:custDataLst>
              <p:tags r:id="rId1"/>
            </p:custDataLst>
            <p:extLst>
              <p:ext uri="{D42A27DB-BD31-4B8C-83A1-F6EECF244321}">
                <p14:modId xmlns:p14="http://schemas.microsoft.com/office/powerpoint/2010/main" val="77089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95" imgH="394" progId="TCLayout.ActiveDocument.1">
                  <p:embed/>
                </p:oleObj>
              </mc:Choice>
              <mc:Fallback>
                <p:oleObj name="think-cell Slide" r:id="rId49" imgW="395" imgH="394" progId="TCLayout.ActiveDocument.1">
                  <p:embed/>
                  <p:pic>
                    <p:nvPicPr>
                      <p:cNvPr id="4" name="Object 3" hidden="1">
                        <a:extLst>
                          <a:ext uri="{FF2B5EF4-FFF2-40B4-BE49-F238E27FC236}">
                            <a16:creationId xmlns:a16="http://schemas.microsoft.com/office/drawing/2014/main" id="{F80B8ADA-92D6-9331-5ED0-A7246C3399EE}"/>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D3BB0EEF-497B-7427-0DEC-DB9C72724A5F}"/>
              </a:ext>
            </a:extLst>
          </p:cNvPr>
          <p:cNvSpPr>
            <a:spLocks noGrp="1"/>
          </p:cNvSpPr>
          <p:nvPr>
            <p:ph type="title"/>
          </p:nvPr>
        </p:nvSpPr>
        <p:spPr>
          <a:xfrm>
            <a:off x="438150" y="408720"/>
            <a:ext cx="11328400" cy="610455"/>
          </a:xfrm>
        </p:spPr>
        <p:txBody>
          <a:bodyPr vert="horz"/>
          <a:lstStyle/>
          <a:p>
            <a:r>
              <a:rPr lang="en-GB" sz="2200" dirty="0"/>
              <a:t>UK Out of Home Advertising Revenue Split by Environment</a:t>
            </a:r>
            <a:endParaRPr lang="en-US" dirty="0"/>
          </a:p>
        </p:txBody>
      </p:sp>
      <p:sp>
        <p:nvSpPr>
          <p:cNvPr id="5" name="Title 1">
            <a:extLst>
              <a:ext uri="{FF2B5EF4-FFF2-40B4-BE49-F238E27FC236}">
                <a16:creationId xmlns:a16="http://schemas.microsoft.com/office/drawing/2014/main" id="{531CD6A6-878E-7856-B3FA-86AC0EA3CEC5}"/>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C2FE8E5C-BDDD-5EE1-1322-30F25B671C1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1"/>
              </a:ext>
            </a:extLst>
          </a:blip>
          <a:stretch>
            <a:fillRect/>
          </a:stretch>
        </p:blipFill>
        <p:spPr>
          <a:xfrm>
            <a:off x="11161188" y="6279305"/>
            <a:ext cx="605362" cy="294658"/>
          </a:xfrm>
          <a:prstGeom prst="rect">
            <a:avLst/>
          </a:prstGeom>
        </p:spPr>
      </p:pic>
      <p:graphicFrame>
        <p:nvGraphicFramePr>
          <p:cNvPr id="41" name="Chart 40">
            <a:extLst>
              <a:ext uri="{FF2B5EF4-FFF2-40B4-BE49-F238E27FC236}">
                <a16:creationId xmlns:a16="http://schemas.microsoft.com/office/drawing/2014/main" id="{ACDF658D-4334-1B51-A3C2-52246D25C2A2}"/>
              </a:ext>
            </a:extLst>
          </p:cNvPr>
          <p:cNvGraphicFramePr/>
          <p:nvPr>
            <p:custDataLst>
              <p:tags r:id="rId2"/>
            </p:custDataLst>
            <p:extLst>
              <p:ext uri="{D42A27DB-BD31-4B8C-83A1-F6EECF244321}">
                <p14:modId xmlns:p14="http://schemas.microsoft.com/office/powerpoint/2010/main" val="3734840146"/>
              </p:ext>
            </p:extLst>
          </p:nvPr>
        </p:nvGraphicFramePr>
        <p:xfrm>
          <a:off x="679450" y="1492250"/>
          <a:ext cx="11169650" cy="4408488"/>
        </p:xfrm>
        <a:graphic>
          <a:graphicData uri="http://schemas.openxmlformats.org/drawingml/2006/chart">
            <c:chart xmlns:c="http://schemas.openxmlformats.org/drawingml/2006/chart" xmlns:r="http://schemas.openxmlformats.org/officeDocument/2006/relationships" r:id="rId52"/>
          </a:graphicData>
        </a:graphic>
      </p:graphicFrame>
      <p:sp>
        <p:nvSpPr>
          <p:cNvPr id="8" name="Text Placeholder 2">
            <a:extLst>
              <a:ext uri="{FF2B5EF4-FFF2-40B4-BE49-F238E27FC236}">
                <a16:creationId xmlns:a16="http://schemas.microsoft.com/office/drawing/2014/main" id="{AFFE2DA0-1A16-FB5B-CB8C-0CAC55C99B1E}"/>
              </a:ext>
            </a:extLst>
          </p:cNvPr>
          <p:cNvSpPr>
            <a:spLocks/>
          </p:cNvSpPr>
          <p:nvPr>
            <p:custDataLst>
              <p:tags r:id="rId3"/>
            </p:custDataLst>
          </p:nvPr>
        </p:nvSpPr>
        <p:spPr bwMode="auto">
          <a:xfrm>
            <a:off x="12811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44098F6-7D6C-4DAE-B81C-F59F982880DC}" type="datetime'20''1''''''''''''''''''''''''''''''''''''''''''''''''''''0'''">
              <a:rPr lang="en-GB" altLang="en-US" sz="900" b="0" smtClean="0">
                <a:solidFill>
                  <a:srgbClr val="ACAEB1"/>
                </a:solidFill>
                <a:latin typeface="Century Schoolbook (Body)"/>
                <a:sym typeface="Century Schoolbook (Body)"/>
              </a:rPr>
              <a:pPr/>
              <a:t>2010</a:t>
            </a:fld>
            <a:endParaRPr lang="en-GB" sz="900" b="0" dirty="0">
              <a:solidFill>
                <a:srgbClr val="ACAEB1"/>
              </a:solidFill>
              <a:latin typeface="Century Schoolbook (Body)"/>
              <a:sym typeface="Century Schoolbook (Body)"/>
            </a:endParaRPr>
          </a:p>
        </p:txBody>
      </p:sp>
      <p:sp>
        <p:nvSpPr>
          <p:cNvPr id="9" name="Text Placeholder 2">
            <a:extLst>
              <a:ext uri="{FF2B5EF4-FFF2-40B4-BE49-F238E27FC236}">
                <a16:creationId xmlns:a16="http://schemas.microsoft.com/office/drawing/2014/main" id="{F67F8CDC-B2CE-35E8-5056-848E9916F1AA}"/>
              </a:ext>
            </a:extLst>
          </p:cNvPr>
          <p:cNvSpPr>
            <a:spLocks/>
          </p:cNvSpPr>
          <p:nvPr>
            <p:custDataLst>
              <p:tags r:id="rId4"/>
            </p:custDataLst>
          </p:nvPr>
        </p:nvSpPr>
        <p:spPr bwMode="auto">
          <a:xfrm>
            <a:off x="194945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D0B1043-A742-476C-B939-14C80506C0B6}" type="datetime'''2''''''''''''0''''''11'''''''''''">
              <a:rPr lang="en-GB" altLang="en-US" sz="900" b="0" smtClean="0">
                <a:solidFill>
                  <a:srgbClr val="ACAEB1"/>
                </a:solidFill>
                <a:latin typeface="Century Schoolbook (Body)"/>
                <a:sym typeface="Century Schoolbook (Body)"/>
              </a:rPr>
              <a:pPr/>
              <a:t>2011</a:t>
            </a:fld>
            <a:endParaRPr lang="en-GB" sz="900" b="0" dirty="0">
              <a:solidFill>
                <a:srgbClr val="ACAEB1"/>
              </a:solidFill>
              <a:latin typeface="Century Schoolbook (Body)"/>
              <a:sym typeface="Century Schoolbook (Body)"/>
            </a:endParaRPr>
          </a:p>
        </p:txBody>
      </p:sp>
      <p:sp>
        <p:nvSpPr>
          <p:cNvPr id="10" name="Text Placeholder 2">
            <a:extLst>
              <a:ext uri="{FF2B5EF4-FFF2-40B4-BE49-F238E27FC236}">
                <a16:creationId xmlns:a16="http://schemas.microsoft.com/office/drawing/2014/main" id="{8C154D4C-1145-7FE6-7A62-5A65D0487C3F}"/>
              </a:ext>
            </a:extLst>
          </p:cNvPr>
          <p:cNvSpPr>
            <a:spLocks/>
          </p:cNvSpPr>
          <p:nvPr>
            <p:custDataLst>
              <p:tags r:id="rId5"/>
            </p:custDataLst>
          </p:nvPr>
        </p:nvSpPr>
        <p:spPr bwMode="auto">
          <a:xfrm>
            <a:off x="26162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6CA05AE-7000-4089-84E5-1CAA9D9E3C44}" type="datetime'2''''''''''''''''''''''''''''''''''''0''''12'''''''''''''''">
              <a:rPr lang="en-GB" altLang="en-US" sz="900" b="0" smtClean="0">
                <a:solidFill>
                  <a:srgbClr val="ACAEB1"/>
                </a:solidFill>
                <a:latin typeface="Century Schoolbook (Body)"/>
                <a:sym typeface="Century Schoolbook (Body)"/>
              </a:rPr>
              <a:pPr/>
              <a:t>2012</a:t>
            </a:fld>
            <a:endParaRPr lang="en-GB" sz="900" b="0" dirty="0">
              <a:solidFill>
                <a:srgbClr val="ACAEB1"/>
              </a:solidFill>
              <a:latin typeface="Century Schoolbook (Body)"/>
              <a:sym typeface="Century Schoolbook (Body)"/>
            </a:endParaRPr>
          </a:p>
        </p:txBody>
      </p:sp>
      <p:sp>
        <p:nvSpPr>
          <p:cNvPr id="21" name="Text Placeholder 2">
            <a:extLst>
              <a:ext uri="{FF2B5EF4-FFF2-40B4-BE49-F238E27FC236}">
                <a16:creationId xmlns:a16="http://schemas.microsoft.com/office/drawing/2014/main" id="{A6B4C358-5108-0817-55C3-B7280D4F270B}"/>
              </a:ext>
            </a:extLst>
          </p:cNvPr>
          <p:cNvSpPr>
            <a:spLocks/>
          </p:cNvSpPr>
          <p:nvPr>
            <p:custDataLst>
              <p:tags r:id="rId6"/>
            </p:custDataLst>
          </p:nvPr>
        </p:nvSpPr>
        <p:spPr bwMode="auto">
          <a:xfrm>
            <a:off x="32845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AD50D7A-7335-4028-8E96-595253C91BA0}" type="datetime'''''''''2''''0''13'''''''''''''''''''''''''''''''''''''">
              <a:rPr lang="en-GB" altLang="en-US" sz="900" b="0" smtClean="0">
                <a:solidFill>
                  <a:srgbClr val="ACAEB1"/>
                </a:solidFill>
                <a:latin typeface="Century Schoolbook (Body)"/>
                <a:sym typeface="Century Schoolbook (Body)"/>
              </a:rPr>
              <a:pPr/>
              <a:t>2013</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4CC96C58-EF3D-B04D-5501-45B8A02FFAAB}"/>
              </a:ext>
            </a:extLst>
          </p:cNvPr>
          <p:cNvSpPr>
            <a:spLocks/>
          </p:cNvSpPr>
          <p:nvPr>
            <p:custDataLst>
              <p:tags r:id="rId7"/>
            </p:custDataLst>
          </p:nvPr>
        </p:nvSpPr>
        <p:spPr bwMode="auto">
          <a:xfrm>
            <a:off x="39528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78395DC-DCC2-45EB-85EE-9EFE8F7629B1}" type="datetime'''''''''''''''''''2''''''''''''01''''''4'''''''''''''">
              <a:rPr lang="en-GB" altLang="en-US" sz="900" b="0" smtClean="0">
                <a:solidFill>
                  <a:srgbClr val="ACAEB1"/>
                </a:solidFill>
                <a:latin typeface="Century Schoolbook (Body)"/>
                <a:sym typeface="Century Schoolbook (Body)"/>
              </a:rPr>
              <a:pPr/>
              <a:t>2014</a:t>
            </a:fld>
            <a:endParaRPr lang="en-GB" sz="900" b="0" dirty="0">
              <a:solidFill>
                <a:srgbClr val="ACAEB1"/>
              </a:solidFill>
              <a:latin typeface="Century Schoolbook (Body)"/>
              <a:sym typeface="Century Schoolbook (Body)"/>
            </a:endParaRPr>
          </a:p>
        </p:txBody>
      </p:sp>
      <p:sp>
        <p:nvSpPr>
          <p:cNvPr id="23" name="Text Placeholder 2">
            <a:extLst>
              <a:ext uri="{FF2B5EF4-FFF2-40B4-BE49-F238E27FC236}">
                <a16:creationId xmlns:a16="http://schemas.microsoft.com/office/drawing/2014/main" id="{156BFC79-3A56-E624-C8B4-7F27EEF726AC}"/>
              </a:ext>
            </a:extLst>
          </p:cNvPr>
          <p:cNvSpPr>
            <a:spLocks/>
          </p:cNvSpPr>
          <p:nvPr>
            <p:custDataLst>
              <p:tags r:id="rId8"/>
            </p:custDataLst>
          </p:nvPr>
        </p:nvSpPr>
        <p:spPr bwMode="auto">
          <a:xfrm>
            <a:off x="46196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AC8A59C-63F1-46CA-82AE-3E144527C542}" type="datetime'''''''''2''''0''''''''''''''1''5'''''''''''''">
              <a:rPr lang="en-GB" altLang="en-US" sz="900" b="0" smtClean="0">
                <a:solidFill>
                  <a:srgbClr val="ACAEB1"/>
                </a:solidFill>
                <a:latin typeface="Century Schoolbook (Body)"/>
                <a:sym typeface="Century Schoolbook (Body)"/>
              </a:rPr>
              <a:pPr/>
              <a:t>2015</a:t>
            </a:fld>
            <a:endParaRPr lang="en-GB" sz="900" b="0" dirty="0">
              <a:solidFill>
                <a:srgbClr val="ACAEB1"/>
              </a:solidFill>
              <a:latin typeface="Century Schoolbook (Body)"/>
              <a:sym typeface="Century Schoolbook (Body)"/>
            </a:endParaRPr>
          </a:p>
        </p:txBody>
      </p:sp>
      <p:sp>
        <p:nvSpPr>
          <p:cNvPr id="24" name="Text Placeholder 2">
            <a:extLst>
              <a:ext uri="{FF2B5EF4-FFF2-40B4-BE49-F238E27FC236}">
                <a16:creationId xmlns:a16="http://schemas.microsoft.com/office/drawing/2014/main" id="{C40770E1-1B90-0F82-C036-2D7350B560FE}"/>
              </a:ext>
            </a:extLst>
          </p:cNvPr>
          <p:cNvSpPr>
            <a:spLocks/>
          </p:cNvSpPr>
          <p:nvPr>
            <p:custDataLst>
              <p:tags r:id="rId9"/>
            </p:custDataLst>
          </p:nvPr>
        </p:nvSpPr>
        <p:spPr bwMode="auto">
          <a:xfrm>
            <a:off x="52879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707919-99A9-4C13-B131-56B8D9E27ED7}" type="datetime'''''''''''''2''''''''''''''''''0''1''''''''6'''''''''''''''''">
              <a:rPr lang="en-GB" altLang="en-US" sz="900" b="0" smtClean="0">
                <a:solidFill>
                  <a:srgbClr val="ACAEB1"/>
                </a:solidFill>
                <a:latin typeface="Century Schoolbook (Body)"/>
                <a:sym typeface="Century Schoolbook (Body)"/>
              </a:rPr>
              <a:pPr/>
              <a:t>2016</a:t>
            </a:fld>
            <a:endParaRPr lang="en-GB" sz="900" b="0" dirty="0">
              <a:solidFill>
                <a:srgbClr val="ACAEB1"/>
              </a:solidFill>
              <a:latin typeface="Century Schoolbook (Body)"/>
              <a:sym typeface="Century Schoolbook (Body)"/>
            </a:endParaRPr>
          </a:p>
        </p:txBody>
      </p:sp>
      <p:sp>
        <p:nvSpPr>
          <p:cNvPr id="25" name="Text Placeholder 2">
            <a:extLst>
              <a:ext uri="{FF2B5EF4-FFF2-40B4-BE49-F238E27FC236}">
                <a16:creationId xmlns:a16="http://schemas.microsoft.com/office/drawing/2014/main" id="{3961F911-9DF6-A0D0-9442-10340C8E0357}"/>
              </a:ext>
            </a:extLst>
          </p:cNvPr>
          <p:cNvSpPr>
            <a:spLocks/>
          </p:cNvSpPr>
          <p:nvPr>
            <p:custDataLst>
              <p:tags r:id="rId10"/>
            </p:custDataLst>
          </p:nvPr>
        </p:nvSpPr>
        <p:spPr bwMode="auto">
          <a:xfrm>
            <a:off x="59563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396D9AF-4969-4D63-BC81-A43CC8F8B4E4}" type="datetime'''''''''''2''''''''''''''''0''''''''1''''''''''''''7'''''">
              <a:rPr lang="en-GB" altLang="en-US" sz="900" b="0" smtClean="0">
                <a:solidFill>
                  <a:srgbClr val="ACAEB1"/>
                </a:solidFill>
                <a:latin typeface="Century Schoolbook (Body)"/>
                <a:sym typeface="Century Schoolbook (Body)"/>
              </a:rPr>
              <a:pPr/>
              <a:t>2017</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7F910943-0779-4372-D6FC-D2EFDCF14CF0}"/>
              </a:ext>
            </a:extLst>
          </p:cNvPr>
          <p:cNvSpPr>
            <a:spLocks/>
          </p:cNvSpPr>
          <p:nvPr>
            <p:custDataLst>
              <p:tags r:id="rId11"/>
            </p:custDataLst>
          </p:nvPr>
        </p:nvSpPr>
        <p:spPr bwMode="auto">
          <a:xfrm>
            <a:off x="66246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00C3C22-2054-4896-AE2C-86B2792A702C}" type="datetime'''''''''''''''''''''''''''''''''''''''''''''2''0''18'''''''''">
              <a:rPr lang="en-GB" altLang="en-US" sz="900" b="0" smtClean="0">
                <a:solidFill>
                  <a:srgbClr val="ACAEB1"/>
                </a:solidFill>
                <a:latin typeface="Century Schoolbook (Body)"/>
                <a:sym typeface="Century Schoolbook (Body)"/>
              </a:rPr>
              <a:pPr/>
              <a:t>2018</a:t>
            </a:fld>
            <a:endParaRPr lang="en-GB" sz="900" b="0" dirty="0">
              <a:solidFill>
                <a:srgbClr val="ACAEB1"/>
              </a:solidFill>
              <a:latin typeface="Century Schoolbook (Body)"/>
              <a:sym typeface="Century Schoolbook (Body)"/>
            </a:endParaRPr>
          </a:p>
        </p:txBody>
      </p:sp>
      <p:sp>
        <p:nvSpPr>
          <p:cNvPr id="27" name="Text Placeholder 2">
            <a:extLst>
              <a:ext uri="{FF2B5EF4-FFF2-40B4-BE49-F238E27FC236}">
                <a16:creationId xmlns:a16="http://schemas.microsoft.com/office/drawing/2014/main" id="{C5A5B482-FBB5-941E-D821-D5657C0FFF55}"/>
              </a:ext>
            </a:extLst>
          </p:cNvPr>
          <p:cNvSpPr>
            <a:spLocks/>
          </p:cNvSpPr>
          <p:nvPr>
            <p:custDataLst>
              <p:tags r:id="rId12"/>
            </p:custDataLst>
          </p:nvPr>
        </p:nvSpPr>
        <p:spPr bwMode="auto">
          <a:xfrm>
            <a:off x="729138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2F3890E-9B97-42B6-A26D-0351E565494F}" type="datetime'''''''''''''''''''2''0''''''''''''''''''''''''''''1''9'''''">
              <a:rPr lang="en-GB" altLang="en-US" sz="900" b="0" smtClean="0">
                <a:solidFill>
                  <a:srgbClr val="ACAEB1"/>
                </a:solidFill>
                <a:latin typeface="Century Schoolbook (Body)"/>
                <a:sym typeface="Century Schoolbook (Body)"/>
              </a:rPr>
              <a:pPr/>
              <a:t>2019</a:t>
            </a:fld>
            <a:endParaRPr lang="en-GB" sz="900" b="0" dirty="0">
              <a:solidFill>
                <a:srgbClr val="ACAEB1"/>
              </a:solidFill>
              <a:latin typeface="Century Schoolbook (Body)"/>
              <a:sym typeface="Century Schoolbook (Body)"/>
            </a:endParaRPr>
          </a:p>
        </p:txBody>
      </p:sp>
      <p:sp>
        <p:nvSpPr>
          <p:cNvPr id="28" name="Text Placeholder 2">
            <a:extLst>
              <a:ext uri="{FF2B5EF4-FFF2-40B4-BE49-F238E27FC236}">
                <a16:creationId xmlns:a16="http://schemas.microsoft.com/office/drawing/2014/main" id="{2487C394-D218-210C-D4D7-487A7B8D46AD}"/>
              </a:ext>
            </a:extLst>
          </p:cNvPr>
          <p:cNvSpPr>
            <a:spLocks/>
          </p:cNvSpPr>
          <p:nvPr>
            <p:custDataLst>
              <p:tags r:id="rId13"/>
            </p:custDataLst>
          </p:nvPr>
        </p:nvSpPr>
        <p:spPr bwMode="auto">
          <a:xfrm>
            <a:off x="79597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F8E96C-2E11-4023-96EA-25C0CCCE82AB}" type="datetime'2''''0''''20'''''''''''''''">
              <a:rPr lang="en-GB" altLang="en-US" sz="900" b="0" smtClean="0">
                <a:solidFill>
                  <a:srgbClr val="ACAEB1"/>
                </a:solidFill>
                <a:latin typeface="Century Schoolbook (Body)"/>
                <a:sym typeface="Century Schoolbook (Body)"/>
              </a:rPr>
              <a:pPr/>
              <a:t>2020</a:t>
            </a:fld>
            <a:endParaRPr lang="en-GB" sz="900" b="0" dirty="0">
              <a:solidFill>
                <a:srgbClr val="ACAEB1"/>
              </a:solidFill>
              <a:latin typeface="Century Schoolbook (Body)"/>
              <a:sym typeface="Century Schoolbook (Body)"/>
            </a:endParaRPr>
          </a:p>
        </p:txBody>
      </p:sp>
      <p:sp>
        <p:nvSpPr>
          <p:cNvPr id="29" name="Text Placeholder 2">
            <a:extLst>
              <a:ext uri="{FF2B5EF4-FFF2-40B4-BE49-F238E27FC236}">
                <a16:creationId xmlns:a16="http://schemas.microsoft.com/office/drawing/2014/main" id="{8DC09F74-18D9-18E9-146E-4BCB4DE98BB5}"/>
              </a:ext>
            </a:extLst>
          </p:cNvPr>
          <p:cNvSpPr>
            <a:spLocks/>
          </p:cNvSpPr>
          <p:nvPr>
            <p:custDataLst>
              <p:tags r:id="rId14"/>
            </p:custDataLst>
          </p:nvPr>
        </p:nvSpPr>
        <p:spPr bwMode="auto">
          <a:xfrm>
            <a:off x="86280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B490462-5C06-4AC0-8613-FA51F00BB7AB}" type="datetime'''''''''2''''''''''''''''''''0''''''''''2''''1'''''''''">
              <a:rPr lang="en-GB" altLang="en-US" sz="900" b="0" smtClean="0">
                <a:solidFill>
                  <a:srgbClr val="ACAEB1"/>
                </a:solidFill>
                <a:latin typeface="Century Schoolbook (Body)"/>
                <a:sym typeface="Century Schoolbook (Body)"/>
              </a:rPr>
              <a:pPr/>
              <a:t>2021</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92222A23-69DE-84BD-C4FA-D72D8590B265}"/>
              </a:ext>
            </a:extLst>
          </p:cNvPr>
          <p:cNvSpPr>
            <a:spLocks/>
          </p:cNvSpPr>
          <p:nvPr>
            <p:custDataLst>
              <p:tags r:id="rId15"/>
            </p:custDataLst>
          </p:nvPr>
        </p:nvSpPr>
        <p:spPr bwMode="auto">
          <a:xfrm>
            <a:off x="92948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F3FA6AB6-38A8-4795-A75C-C4A92EB30FB7}" type="datetime'''20''''''''''''''2''''''''''''''''''''''''2'''''''''''''">
              <a:rPr lang="en-GB" altLang="en-US" sz="900" b="0" smtClean="0">
                <a:solidFill>
                  <a:srgbClr val="ACAEB1"/>
                </a:solidFill>
                <a:latin typeface="Century Schoolbook (Body)"/>
                <a:sym typeface="Century Schoolbook (Body)"/>
              </a:rPr>
              <a:pPr/>
              <a:t>2022</a:t>
            </a:fld>
            <a:endParaRPr lang="en-GB" sz="900" b="0" dirty="0">
              <a:solidFill>
                <a:srgbClr val="ACAEB1"/>
              </a:solidFill>
              <a:latin typeface="Century Schoolbook (Body)"/>
              <a:sym typeface="Century Schoolbook (Body)"/>
            </a:endParaRPr>
          </a:p>
        </p:txBody>
      </p:sp>
      <p:sp>
        <p:nvSpPr>
          <p:cNvPr id="31" name="Text Placeholder 2">
            <a:extLst>
              <a:ext uri="{FF2B5EF4-FFF2-40B4-BE49-F238E27FC236}">
                <a16:creationId xmlns:a16="http://schemas.microsoft.com/office/drawing/2014/main" id="{62FEAEEF-3507-9349-CBAD-9FBBE86707DA}"/>
              </a:ext>
            </a:extLst>
          </p:cNvPr>
          <p:cNvSpPr>
            <a:spLocks/>
          </p:cNvSpPr>
          <p:nvPr>
            <p:custDataLst>
              <p:tags r:id="rId16"/>
            </p:custDataLst>
          </p:nvPr>
        </p:nvSpPr>
        <p:spPr bwMode="auto">
          <a:xfrm>
            <a:off x="996315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4401756-F123-4A0E-B88A-8ECC2DCD3FD2}" type="datetime'''''''''''''''''''2''''''''0''''''''''''2''''''''''''''3'">
              <a:rPr lang="en-GB" altLang="en-US" sz="900" b="0" smtClean="0">
                <a:solidFill>
                  <a:srgbClr val="ACAEB1"/>
                </a:solidFill>
                <a:latin typeface="Century Schoolbook (Body)"/>
                <a:sym typeface="Century Schoolbook (Body)"/>
              </a:rPr>
              <a:pPr/>
              <a:t>2023</a:t>
            </a:fld>
            <a:endParaRPr lang="en-GB" sz="900" b="0" dirty="0">
              <a:solidFill>
                <a:srgbClr val="ACAEB1"/>
              </a:solidFill>
              <a:latin typeface="Century Schoolbook (Body)"/>
              <a:sym typeface="Century Schoolbook (Body)"/>
            </a:endParaRPr>
          </a:p>
        </p:txBody>
      </p:sp>
      <p:sp>
        <p:nvSpPr>
          <p:cNvPr id="32" name="Text Placeholder 2">
            <a:extLst>
              <a:ext uri="{FF2B5EF4-FFF2-40B4-BE49-F238E27FC236}">
                <a16:creationId xmlns:a16="http://schemas.microsoft.com/office/drawing/2014/main" id="{CD9F8FB6-C655-3301-6B41-EE8E9EBB5D3C}"/>
              </a:ext>
            </a:extLst>
          </p:cNvPr>
          <p:cNvSpPr>
            <a:spLocks/>
          </p:cNvSpPr>
          <p:nvPr>
            <p:custDataLst>
              <p:tags r:id="rId17"/>
            </p:custDataLst>
          </p:nvPr>
        </p:nvSpPr>
        <p:spPr bwMode="auto">
          <a:xfrm>
            <a:off x="1063148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234E3D1-D44C-4BFC-BC2B-0BF58E4BE7CB}" type="datetime'2''''''''''0''''''''''''''2''''''''''''''4'''''''''''">
              <a:rPr lang="en-GB" altLang="en-US" sz="900" b="0" smtClean="0">
                <a:solidFill>
                  <a:srgbClr val="ACAEB1"/>
                </a:solidFill>
                <a:latin typeface="Century Schoolbook (Body)"/>
                <a:sym typeface="Century Schoolbook (Body)"/>
              </a:rPr>
              <a:pPr/>
              <a:t>2024</a:t>
            </a:fld>
            <a:endParaRPr lang="en-GB" sz="900" b="0" dirty="0">
              <a:solidFill>
                <a:srgbClr val="ACAEB1"/>
              </a:solidFill>
              <a:latin typeface="Century Schoolbook (Body)"/>
              <a:sym typeface="Century Schoolbook (Body)"/>
            </a:endParaRPr>
          </a:p>
        </p:txBody>
      </p:sp>
      <p:sp>
        <p:nvSpPr>
          <p:cNvPr id="6" name="Text Placeholder 2">
            <a:extLst>
              <a:ext uri="{FF2B5EF4-FFF2-40B4-BE49-F238E27FC236}">
                <a16:creationId xmlns:a16="http://schemas.microsoft.com/office/drawing/2014/main" id="{87F3A83D-2868-80C4-477C-623981F26698}"/>
              </a:ext>
            </a:extLst>
          </p:cNvPr>
          <p:cNvSpPr>
            <a:spLocks/>
          </p:cNvSpPr>
          <p:nvPr>
            <p:custDataLst>
              <p:tags r:id="rId18"/>
            </p:custDataLst>
          </p:nvPr>
        </p:nvSpPr>
        <p:spPr bwMode="auto">
          <a:xfrm>
            <a:off x="112982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ADD2F5A-4E86-42AE-A0A4-70860EFA13CF}" type="datetime'''''''''''''''20''''''''''2''5'''''''">
              <a:rPr lang="en-GB" altLang="en-US" sz="900" b="0" smtClean="0">
                <a:solidFill>
                  <a:srgbClr val="ACAEB1"/>
                </a:solidFill>
                <a:latin typeface="Century Schoolbook (Body)"/>
              </a:rPr>
              <a:pPr/>
              <a:t>2025</a:t>
            </a:fld>
            <a:endParaRPr lang="en-GB" sz="900" b="0" dirty="0">
              <a:solidFill>
                <a:srgbClr val="ACAEB1"/>
              </a:solidFill>
              <a:latin typeface="Century Schoolbook (Body)"/>
              <a:sym typeface="Century Schoolbook (Body)"/>
            </a:endParaRPr>
          </a:p>
        </p:txBody>
      </p:sp>
      <p:sp useBgFill="1">
        <p:nvSpPr>
          <p:cNvPr id="263" name="Text Placeholder 2">
            <a:extLst>
              <a:ext uri="{FF2B5EF4-FFF2-40B4-BE49-F238E27FC236}">
                <a16:creationId xmlns:a16="http://schemas.microsoft.com/office/drawing/2014/main" id="{E64D7DB9-FC9B-6E44-B72A-11C858C1336D}"/>
              </a:ext>
            </a:extLst>
          </p:cNvPr>
          <p:cNvSpPr>
            <a:spLocks/>
          </p:cNvSpPr>
          <p:nvPr>
            <p:custDataLst>
              <p:tags r:id="rId19"/>
            </p:custDataLst>
          </p:nvPr>
        </p:nvSpPr>
        <p:spPr bwMode="gray">
          <a:xfrm>
            <a:off x="1123950" y="3779839"/>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8FBFC34-CA94-487E-B597-ECEB7F47B889}" type="datetime'''''''''''''''''''''''3''''''''''''''2''''''''9'''''''''''''">
              <a:rPr lang="en-GB" altLang="en-US" sz="900" b="0" smtClean="0">
                <a:solidFill>
                  <a:srgbClr val="ACAEB1"/>
                </a:solidFill>
                <a:effectLst/>
                <a:latin typeface="Century Schoolbook (Body)"/>
                <a:sym typeface="Century Schoolbook (Body)"/>
              </a:rPr>
              <a:pPr lvl="0" algn="ctr">
                <a:spcBef>
                  <a:spcPct val="0"/>
                </a:spcBef>
                <a:spcAft>
                  <a:spcPct val="0"/>
                </a:spcAft>
              </a:pPr>
              <a:t>329</a:t>
            </a:fld>
            <a:endParaRPr lang="en-GB" sz="900" b="0" dirty="0">
              <a:solidFill>
                <a:srgbClr val="ACAEB1"/>
              </a:solidFill>
              <a:latin typeface="Century Schoolbook (Body)"/>
              <a:sym typeface="Century Schoolbook (Body)"/>
            </a:endParaRPr>
          </a:p>
        </p:txBody>
      </p:sp>
      <p:sp useBgFill="1">
        <p:nvSpPr>
          <p:cNvPr id="17" name="Text Placeholder 2">
            <a:extLst>
              <a:ext uri="{FF2B5EF4-FFF2-40B4-BE49-F238E27FC236}">
                <a16:creationId xmlns:a16="http://schemas.microsoft.com/office/drawing/2014/main" id="{17882BD1-0789-96A6-E826-8EDEFB97A5F7}"/>
              </a:ext>
            </a:extLst>
          </p:cNvPr>
          <p:cNvSpPr>
            <a:spLocks/>
          </p:cNvSpPr>
          <p:nvPr>
            <p:custDataLst>
              <p:tags r:id="rId20"/>
            </p:custDataLst>
          </p:nvPr>
        </p:nvSpPr>
        <p:spPr bwMode="gray">
          <a:xfrm>
            <a:off x="2459038" y="3459163"/>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1019BB1-8432-4B1B-9335-21E7A5902394}" type="datetime'''''''''''''''3''''''''''8''''''''9'''''''''''''">
              <a:rPr lang="en-GB" altLang="en-US" sz="900" b="0" smtClean="0">
                <a:solidFill>
                  <a:srgbClr val="ACAEB1"/>
                </a:solidFill>
                <a:effectLst/>
                <a:latin typeface="Century Schoolbook (Body)"/>
                <a:sym typeface="Century Schoolbook (Body)"/>
              </a:rPr>
              <a:pPr lvl="0" algn="ctr">
                <a:spcBef>
                  <a:spcPct val="0"/>
                </a:spcBef>
                <a:spcAft>
                  <a:spcPct val="0"/>
                </a:spcAft>
              </a:pPr>
              <a:t>389</a:t>
            </a:fld>
            <a:endParaRPr lang="en-GB" sz="900" b="0" dirty="0">
              <a:solidFill>
                <a:srgbClr val="ACAEB1"/>
              </a:solidFill>
              <a:latin typeface="Century Schoolbook (Body)"/>
              <a:sym typeface="Century Schoolbook (Body)"/>
            </a:endParaRPr>
          </a:p>
        </p:txBody>
      </p:sp>
      <p:sp>
        <p:nvSpPr>
          <p:cNvPr id="53" name="Text Placeholder 2">
            <a:extLst>
              <a:ext uri="{FF2B5EF4-FFF2-40B4-BE49-F238E27FC236}">
                <a16:creationId xmlns:a16="http://schemas.microsoft.com/office/drawing/2014/main" id="{3DAF6816-D1AF-E72B-E717-59186F99F51E}"/>
              </a:ext>
            </a:extLst>
          </p:cNvPr>
          <p:cNvSpPr>
            <a:spLocks/>
          </p:cNvSpPr>
          <p:nvPr>
            <p:custDataLst>
              <p:tags r:id="rId21"/>
            </p:custDataLst>
          </p:nvPr>
        </p:nvSpPr>
        <p:spPr bwMode="auto">
          <a:xfrm>
            <a:off x="993775" y="14335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r>
              <a:rPr lang="en-GB" sz="900" dirty="0">
                <a:solidFill>
                  <a:srgbClr val="ACAEB1"/>
                </a:solidFill>
                <a:latin typeface="Century Schoolbook (Body)"/>
              </a:rPr>
              <a:t>£m</a:t>
            </a:r>
          </a:p>
        </p:txBody>
      </p:sp>
      <p:sp useBgFill="1">
        <p:nvSpPr>
          <p:cNvPr id="33" name="Text Placeholder 2">
            <a:extLst>
              <a:ext uri="{FF2B5EF4-FFF2-40B4-BE49-F238E27FC236}">
                <a16:creationId xmlns:a16="http://schemas.microsoft.com/office/drawing/2014/main" id="{FBD53F79-FB1A-2C21-0398-DED4554DEF2F}"/>
              </a:ext>
            </a:extLst>
          </p:cNvPr>
          <p:cNvSpPr>
            <a:spLocks/>
          </p:cNvSpPr>
          <p:nvPr>
            <p:custDataLst>
              <p:tags r:id="rId22"/>
            </p:custDataLst>
          </p:nvPr>
        </p:nvSpPr>
        <p:spPr bwMode="gray">
          <a:xfrm>
            <a:off x="3303588" y="2952750"/>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7D17D8F-28A9-4861-8E56-D39230991B1D}" type="datetime'''''''''''''''''''''''''''4''8''''''''4'''''''">
              <a:rPr lang="en-GB" altLang="en-US" sz="900" b="0" smtClean="0">
                <a:solidFill>
                  <a:srgbClr val="ACAEB1"/>
                </a:solidFill>
                <a:effectLst/>
                <a:latin typeface="Century Schoolbook (Body)"/>
                <a:sym typeface="Century Schoolbook (Body)"/>
              </a:rPr>
              <a:pPr lvl="0" algn="ctr">
                <a:spcBef>
                  <a:spcPct val="0"/>
                </a:spcBef>
                <a:spcAft>
                  <a:spcPct val="0"/>
                </a:spcAft>
              </a:pPr>
              <a:t>484</a:t>
            </a:fld>
            <a:endParaRPr lang="en-GB" sz="900" b="0" dirty="0">
              <a:solidFill>
                <a:srgbClr val="ACAEB1"/>
              </a:solidFill>
              <a:latin typeface="Century Schoolbook (Body)"/>
              <a:sym typeface="Century Schoolbook (Body)"/>
            </a:endParaRPr>
          </a:p>
        </p:txBody>
      </p:sp>
      <p:sp useBgFill="1">
        <p:nvSpPr>
          <p:cNvPr id="34" name="Text Placeholder 2">
            <a:extLst>
              <a:ext uri="{FF2B5EF4-FFF2-40B4-BE49-F238E27FC236}">
                <a16:creationId xmlns:a16="http://schemas.microsoft.com/office/drawing/2014/main" id="{473B781B-5BDF-32DA-5A33-A2B9556550CE}"/>
              </a:ext>
            </a:extLst>
          </p:cNvPr>
          <p:cNvSpPr>
            <a:spLocks/>
          </p:cNvSpPr>
          <p:nvPr>
            <p:custDataLst>
              <p:tags r:id="rId23"/>
            </p:custDataLst>
          </p:nvPr>
        </p:nvSpPr>
        <p:spPr bwMode="gray">
          <a:xfrm>
            <a:off x="3479800" y="4862513"/>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E34A659-4C1B-47C8-BC42-FB637F284CB5}" type="datetime'''''''1''''''''2''''6'''''''''''''''''''''''''''''''">
              <a:rPr lang="en-GB" altLang="en-US" sz="900" b="0" smtClean="0">
                <a:solidFill>
                  <a:srgbClr val="ACAEB1"/>
                </a:solidFill>
                <a:effectLst/>
                <a:latin typeface="Century Schoolbook (Body)"/>
                <a:sym typeface="Century Schoolbook (Body)"/>
              </a:rPr>
              <a:pPr lvl="0" algn="ctr">
                <a:spcBef>
                  <a:spcPct val="0"/>
                </a:spcBef>
                <a:spcAft>
                  <a:spcPct val="0"/>
                </a:spcAft>
              </a:pPr>
              <a:t>126</a:t>
            </a:fld>
            <a:endParaRPr lang="en-GB" sz="900" b="0" dirty="0">
              <a:solidFill>
                <a:srgbClr val="ACAEB1"/>
              </a:solidFill>
              <a:latin typeface="Century Schoolbook (Body)"/>
              <a:sym typeface="Century Schoolbook (Body)"/>
            </a:endParaRPr>
          </a:p>
        </p:txBody>
      </p:sp>
      <p:sp useBgFill="1">
        <p:nvSpPr>
          <p:cNvPr id="35" name="Text Placeholder 2">
            <a:extLst>
              <a:ext uri="{FF2B5EF4-FFF2-40B4-BE49-F238E27FC236}">
                <a16:creationId xmlns:a16="http://schemas.microsoft.com/office/drawing/2014/main" id="{009D78EC-73F7-6FC1-05EC-CC1CAFD16405}"/>
              </a:ext>
            </a:extLst>
          </p:cNvPr>
          <p:cNvSpPr>
            <a:spLocks/>
          </p:cNvSpPr>
          <p:nvPr>
            <p:custDataLst>
              <p:tags r:id="rId24"/>
            </p:custDataLst>
          </p:nvPr>
        </p:nvSpPr>
        <p:spPr bwMode="gray">
          <a:xfrm>
            <a:off x="3971925" y="2932113"/>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D3EEEDC6-13EB-4847-88DC-6B0386AE31F5}" type="datetime'''''''4''''''''''''''''8''8'''">
              <a:rPr lang="en-GB" altLang="en-US" sz="900" b="0" smtClean="0">
                <a:solidFill>
                  <a:srgbClr val="ACAEB1"/>
                </a:solidFill>
                <a:effectLst/>
                <a:latin typeface="Century Schoolbook (Body)"/>
                <a:sym typeface="Century Schoolbook (Body)"/>
              </a:rPr>
              <a:pPr lvl="0" algn="ctr">
                <a:spcBef>
                  <a:spcPct val="0"/>
                </a:spcBef>
                <a:spcAft>
                  <a:spcPct val="0"/>
                </a:spcAft>
              </a:pPr>
              <a:t>488</a:t>
            </a:fld>
            <a:endParaRPr lang="en-GB" sz="900" b="0" dirty="0">
              <a:solidFill>
                <a:srgbClr val="ACAEB1"/>
              </a:solidFill>
              <a:latin typeface="Century Schoolbook (Body)"/>
              <a:sym typeface="Century Schoolbook (Body)"/>
            </a:endParaRPr>
          </a:p>
        </p:txBody>
      </p:sp>
      <p:sp useBgFill="1">
        <p:nvSpPr>
          <p:cNvPr id="11" name="Text Placeholder 2">
            <a:extLst>
              <a:ext uri="{FF2B5EF4-FFF2-40B4-BE49-F238E27FC236}">
                <a16:creationId xmlns:a16="http://schemas.microsoft.com/office/drawing/2014/main" id="{CBF95258-4BC2-F013-139E-AC9C8E1FB807}"/>
              </a:ext>
            </a:extLst>
          </p:cNvPr>
          <p:cNvSpPr>
            <a:spLocks/>
          </p:cNvSpPr>
          <p:nvPr>
            <p:custDataLst>
              <p:tags r:id="rId25"/>
            </p:custDataLst>
          </p:nvPr>
        </p:nvSpPr>
        <p:spPr bwMode="gray">
          <a:xfrm>
            <a:off x="4146550" y="4883151"/>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C4321B0-0D1C-4B69-B3A1-470088C044B0}" type="datetime'''1''''''''''''''''''''''''2''''''''''''''''2'''''''">
              <a:rPr lang="en-GB" altLang="en-US" sz="900" b="0" smtClean="0">
                <a:solidFill>
                  <a:srgbClr val="ACAEB1"/>
                </a:solidFill>
                <a:effectLst/>
                <a:latin typeface="Century Schoolbook (Body)"/>
                <a:sym typeface="Century Schoolbook (Body)"/>
              </a:rPr>
              <a:pPr lvl="0" algn="ctr">
                <a:spcBef>
                  <a:spcPct val="0"/>
                </a:spcBef>
                <a:spcAft>
                  <a:spcPct val="0"/>
                </a:spcAft>
              </a:pPr>
              <a:t>122</a:t>
            </a:fld>
            <a:endParaRPr lang="en-GB" sz="900" b="0" dirty="0">
              <a:solidFill>
                <a:srgbClr val="ACAEB1"/>
              </a:solidFill>
              <a:latin typeface="Century Schoolbook (Body)"/>
              <a:sym typeface="Century Schoolbook (Body)"/>
            </a:endParaRPr>
          </a:p>
        </p:txBody>
      </p:sp>
      <p:sp useBgFill="1">
        <p:nvSpPr>
          <p:cNvPr id="37" name="Text Placeholder 2">
            <a:extLst>
              <a:ext uri="{FF2B5EF4-FFF2-40B4-BE49-F238E27FC236}">
                <a16:creationId xmlns:a16="http://schemas.microsoft.com/office/drawing/2014/main" id="{0D911216-6F7B-9D9A-F59B-7708F9E316B1}"/>
              </a:ext>
            </a:extLst>
          </p:cNvPr>
          <p:cNvSpPr>
            <a:spLocks/>
          </p:cNvSpPr>
          <p:nvPr>
            <p:custDataLst>
              <p:tags r:id="rId26"/>
            </p:custDataLst>
          </p:nvPr>
        </p:nvSpPr>
        <p:spPr bwMode="gray">
          <a:xfrm>
            <a:off x="4462463" y="323532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A686521-C0DD-4B39-B0C1-05BCB64AC321}" type="datetime'4''''''''''''''''''''''''''''''''''''''3''''''1'''''''">
              <a:rPr lang="en-GB" altLang="en-US" sz="900" b="0" smtClean="0">
                <a:solidFill>
                  <a:srgbClr val="ACAEB1"/>
                </a:solidFill>
                <a:effectLst/>
                <a:latin typeface="Century Schoolbook (Body)"/>
                <a:sym typeface="Century Schoolbook (Body)"/>
              </a:rPr>
              <a:pPr lvl="0" algn="ctr">
                <a:spcBef>
                  <a:spcPct val="0"/>
                </a:spcBef>
                <a:spcAft>
                  <a:spcPct val="0"/>
                </a:spcAft>
              </a:pPr>
              <a:t>431</a:t>
            </a:fld>
            <a:endParaRPr lang="en-GB" sz="900" b="0" dirty="0">
              <a:solidFill>
                <a:srgbClr val="ACAEB1"/>
              </a:solidFill>
              <a:latin typeface="Century Schoolbook (Body)"/>
              <a:sym typeface="Century Schoolbook (Body)"/>
            </a:endParaRPr>
          </a:p>
        </p:txBody>
      </p:sp>
      <p:sp useBgFill="1">
        <p:nvSpPr>
          <p:cNvPr id="38" name="Text Placeholder 2">
            <a:extLst>
              <a:ext uri="{FF2B5EF4-FFF2-40B4-BE49-F238E27FC236}">
                <a16:creationId xmlns:a16="http://schemas.microsoft.com/office/drawing/2014/main" id="{1EEEDD6F-5E1B-EEC1-5FA8-1205C683E1DE}"/>
              </a:ext>
            </a:extLst>
          </p:cNvPr>
          <p:cNvSpPr>
            <a:spLocks/>
          </p:cNvSpPr>
          <p:nvPr>
            <p:custDataLst>
              <p:tags r:id="rId27"/>
            </p:custDataLst>
          </p:nvPr>
        </p:nvSpPr>
        <p:spPr bwMode="gray">
          <a:xfrm>
            <a:off x="4814888" y="4819650"/>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F4078B8F-790D-4E53-AD49-B3DC777D1CCD}" type="datetime'''1''''''''''3''''''''''''''''''''''4'''''''''''''''">
              <a:rPr lang="en-GB" altLang="en-US" sz="900" b="0" smtClean="0">
                <a:solidFill>
                  <a:srgbClr val="ACAEB1"/>
                </a:solidFill>
                <a:effectLst/>
                <a:latin typeface="Century Schoolbook (Body)"/>
                <a:sym typeface="Century Schoolbook (Body)"/>
              </a:rPr>
              <a:pPr lvl="0" algn="ctr">
                <a:spcBef>
                  <a:spcPct val="0"/>
                </a:spcBef>
                <a:spcAft>
                  <a:spcPct val="0"/>
                </a:spcAft>
              </a:pPr>
              <a:t>134</a:t>
            </a:fld>
            <a:endParaRPr lang="en-GB" sz="900" b="0" dirty="0">
              <a:solidFill>
                <a:srgbClr val="ACAEB1"/>
              </a:solidFill>
              <a:latin typeface="Century Schoolbook (Body)"/>
              <a:sym typeface="Century Schoolbook (Body)"/>
            </a:endParaRPr>
          </a:p>
        </p:txBody>
      </p:sp>
      <p:sp useBgFill="1">
        <p:nvSpPr>
          <p:cNvPr id="12" name="Text Placeholder 2">
            <a:extLst>
              <a:ext uri="{FF2B5EF4-FFF2-40B4-BE49-F238E27FC236}">
                <a16:creationId xmlns:a16="http://schemas.microsoft.com/office/drawing/2014/main" id="{4A7E273F-8E7C-1848-171A-6D42585C3D05}"/>
              </a:ext>
            </a:extLst>
          </p:cNvPr>
          <p:cNvSpPr>
            <a:spLocks/>
          </p:cNvSpPr>
          <p:nvPr>
            <p:custDataLst>
              <p:tags r:id="rId28"/>
            </p:custDataLst>
          </p:nvPr>
        </p:nvSpPr>
        <p:spPr bwMode="gray">
          <a:xfrm>
            <a:off x="5799138" y="3167064"/>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A8286FC-1BF5-46B1-AAEA-166CB1F36FF1}" type="datetime'''4''''''''''''''''''44'''''''''''''''''''''''''''''''''">
              <a:rPr lang="en-GB" altLang="en-US" sz="900" b="0" smtClean="0">
                <a:solidFill>
                  <a:srgbClr val="ACAEB1"/>
                </a:solidFill>
                <a:effectLst/>
                <a:latin typeface="Century Schoolbook (Body)"/>
                <a:sym typeface="Century Schoolbook (Body)"/>
              </a:rPr>
              <a:pPr lvl="0" algn="ctr">
                <a:spcBef>
                  <a:spcPct val="0"/>
                </a:spcBef>
                <a:spcAft>
                  <a:spcPct val="0"/>
                </a:spcAft>
              </a:pPr>
              <a:t>444</a:t>
            </a:fld>
            <a:endParaRPr lang="en-GB" sz="900" b="0" dirty="0">
              <a:solidFill>
                <a:srgbClr val="ACAEB1"/>
              </a:solidFill>
              <a:latin typeface="Century Schoolbook (Body)"/>
              <a:sym typeface="Century Schoolbook (Body)"/>
            </a:endParaRPr>
          </a:p>
        </p:txBody>
      </p:sp>
      <p:sp useBgFill="1">
        <p:nvSpPr>
          <p:cNvPr id="42" name="Text Placeholder 2">
            <a:extLst>
              <a:ext uri="{FF2B5EF4-FFF2-40B4-BE49-F238E27FC236}">
                <a16:creationId xmlns:a16="http://schemas.microsoft.com/office/drawing/2014/main" id="{35FD1977-FC15-EF53-4478-F3D0369B495A}"/>
              </a:ext>
            </a:extLst>
          </p:cNvPr>
          <p:cNvSpPr>
            <a:spLocks/>
          </p:cNvSpPr>
          <p:nvPr>
            <p:custDataLst>
              <p:tags r:id="rId29"/>
            </p:custDataLst>
          </p:nvPr>
        </p:nvSpPr>
        <p:spPr bwMode="gray">
          <a:xfrm>
            <a:off x="5975350" y="2697163"/>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1A274D6-E304-4A72-B43A-95E910188B98}" type="datetime'''''''''''53''''''''''''2'''''''''''''''">
              <a:rPr lang="en-GB" altLang="en-US" sz="900" b="0" smtClean="0">
                <a:solidFill>
                  <a:srgbClr val="ACAEB1"/>
                </a:solidFill>
                <a:effectLst/>
                <a:latin typeface="Century Schoolbook (Body)"/>
                <a:sym typeface="Century Schoolbook (Body)"/>
              </a:rPr>
              <a:pPr lvl="0" algn="ctr">
                <a:spcBef>
                  <a:spcPct val="0"/>
                </a:spcBef>
                <a:spcAft>
                  <a:spcPct val="0"/>
                </a:spcAft>
              </a:pPr>
              <a:t>532</a:t>
            </a:fld>
            <a:endParaRPr lang="en-GB" sz="900" b="0" dirty="0">
              <a:solidFill>
                <a:srgbClr val="ACAEB1"/>
              </a:solidFill>
              <a:latin typeface="Century Schoolbook (Body)"/>
              <a:sym typeface="Century Schoolbook (Body)"/>
            </a:endParaRPr>
          </a:p>
        </p:txBody>
      </p:sp>
      <p:sp useBgFill="1">
        <p:nvSpPr>
          <p:cNvPr id="44" name="Text Placeholder 2">
            <a:extLst>
              <a:ext uri="{FF2B5EF4-FFF2-40B4-BE49-F238E27FC236}">
                <a16:creationId xmlns:a16="http://schemas.microsoft.com/office/drawing/2014/main" id="{C3252438-B855-D7D9-56B4-E50A422EAD54}"/>
              </a:ext>
            </a:extLst>
          </p:cNvPr>
          <p:cNvSpPr>
            <a:spLocks/>
          </p:cNvSpPr>
          <p:nvPr>
            <p:custDataLst>
              <p:tags r:id="rId30"/>
            </p:custDataLst>
          </p:nvPr>
        </p:nvSpPr>
        <p:spPr bwMode="gray">
          <a:xfrm>
            <a:off x="6467475" y="2986088"/>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2F26ADE-7D46-4EAA-B6F4-613532B34DAC}" type="datetime'''''''''''''''''''''''''''47''''''''''''''''''8'''''''''''''">
              <a:rPr lang="en-GB" altLang="en-US" sz="900" b="0" smtClean="0">
                <a:solidFill>
                  <a:srgbClr val="ACAEB1"/>
                </a:solidFill>
                <a:effectLst/>
                <a:latin typeface="Century Schoolbook (Body)"/>
                <a:sym typeface="Century Schoolbook (Body)"/>
              </a:rPr>
              <a:pPr lvl="0" algn="ctr">
                <a:spcBef>
                  <a:spcPct val="0"/>
                </a:spcBef>
                <a:spcAft>
                  <a:spcPct val="0"/>
                </a:spcAft>
              </a:pPr>
              <a:t>478</a:t>
            </a:fld>
            <a:endParaRPr lang="en-GB" sz="900" b="0" dirty="0">
              <a:solidFill>
                <a:srgbClr val="ACAEB1"/>
              </a:solidFill>
              <a:latin typeface="Century Schoolbook (Body)"/>
              <a:sym typeface="Century Schoolbook (Body)"/>
            </a:endParaRPr>
          </a:p>
        </p:txBody>
      </p:sp>
      <p:sp useBgFill="1">
        <p:nvSpPr>
          <p:cNvPr id="47" name="Text Placeholder 2">
            <a:extLst>
              <a:ext uri="{FF2B5EF4-FFF2-40B4-BE49-F238E27FC236}">
                <a16:creationId xmlns:a16="http://schemas.microsoft.com/office/drawing/2014/main" id="{05471F71-7170-3291-E67C-216FBA151681}"/>
              </a:ext>
            </a:extLst>
          </p:cNvPr>
          <p:cNvSpPr>
            <a:spLocks/>
          </p:cNvSpPr>
          <p:nvPr>
            <p:custDataLst>
              <p:tags r:id="rId31"/>
            </p:custDataLst>
          </p:nvPr>
        </p:nvSpPr>
        <p:spPr bwMode="gray">
          <a:xfrm>
            <a:off x="7486650" y="4557713"/>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72B204C-22C5-4E62-90D2-966C9EAAF8D1}" type="datetime'''''''''''''1''''''''''''''8''''''''''''3'">
              <a:rPr lang="en-GB" altLang="en-US" sz="900" b="0" smtClean="0">
                <a:solidFill>
                  <a:srgbClr val="ACAEB1"/>
                </a:solidFill>
                <a:effectLst/>
                <a:latin typeface="Century Schoolbook (Body)"/>
                <a:sym typeface="Century Schoolbook (Body)"/>
              </a:rPr>
              <a:pPr lvl="0" algn="ctr">
                <a:spcBef>
                  <a:spcPct val="0"/>
                </a:spcBef>
                <a:spcAft>
                  <a:spcPct val="0"/>
                </a:spcAft>
              </a:pPr>
              <a:t>183</a:t>
            </a:fld>
            <a:endParaRPr lang="en-GB" sz="900" b="0" dirty="0">
              <a:solidFill>
                <a:srgbClr val="ACAEB1"/>
              </a:solidFill>
              <a:latin typeface="Century Schoolbook (Body)"/>
              <a:sym typeface="Century Schoolbook (Body)"/>
            </a:endParaRPr>
          </a:p>
        </p:txBody>
      </p:sp>
      <p:sp useBgFill="1">
        <p:nvSpPr>
          <p:cNvPr id="48" name="Text Placeholder 2">
            <a:extLst>
              <a:ext uri="{FF2B5EF4-FFF2-40B4-BE49-F238E27FC236}">
                <a16:creationId xmlns:a16="http://schemas.microsoft.com/office/drawing/2014/main" id="{E7077707-11CB-6D27-0A0C-CCFEEDE1D34C}"/>
              </a:ext>
            </a:extLst>
          </p:cNvPr>
          <p:cNvSpPr>
            <a:spLocks/>
          </p:cNvSpPr>
          <p:nvPr>
            <p:custDataLst>
              <p:tags r:id="rId32"/>
            </p:custDataLst>
          </p:nvPr>
        </p:nvSpPr>
        <p:spPr bwMode="gray">
          <a:xfrm>
            <a:off x="7802563" y="453707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410120F-240A-4922-AA00-80AF268B71AB}" type="datetime'''''''''''''''''''''1''''''8''''''''''''7'''''''''''''''">
              <a:rPr lang="en-GB" altLang="en-US" sz="900" b="0" smtClean="0">
                <a:solidFill>
                  <a:srgbClr val="ACAEB1"/>
                </a:solidFill>
                <a:effectLst/>
                <a:latin typeface="Century Schoolbook (Body)"/>
                <a:sym typeface="Century Schoolbook (Body)"/>
              </a:rPr>
              <a:pPr lvl="0" algn="ctr">
                <a:spcBef>
                  <a:spcPct val="0"/>
                </a:spcBef>
                <a:spcAft>
                  <a:spcPct val="0"/>
                </a:spcAft>
              </a:pPr>
              <a:t>187</a:t>
            </a:fld>
            <a:endParaRPr lang="en-GB" sz="900" b="0" dirty="0">
              <a:solidFill>
                <a:srgbClr val="ACAEB1"/>
              </a:solidFill>
              <a:latin typeface="Century Schoolbook (Body)"/>
              <a:sym typeface="Century Schoolbook (Body)"/>
            </a:endParaRPr>
          </a:p>
        </p:txBody>
      </p:sp>
      <p:sp useBgFill="1">
        <p:nvSpPr>
          <p:cNvPr id="50" name="Text Placeholder 2">
            <a:extLst>
              <a:ext uri="{FF2B5EF4-FFF2-40B4-BE49-F238E27FC236}">
                <a16:creationId xmlns:a16="http://schemas.microsoft.com/office/drawing/2014/main" id="{3E7B3254-32FD-AFB2-7CE9-17C48A54E84C}"/>
              </a:ext>
            </a:extLst>
          </p:cNvPr>
          <p:cNvSpPr>
            <a:spLocks/>
          </p:cNvSpPr>
          <p:nvPr>
            <p:custDataLst>
              <p:tags r:id="rId33"/>
            </p:custDataLst>
          </p:nvPr>
        </p:nvSpPr>
        <p:spPr bwMode="gray">
          <a:xfrm>
            <a:off x="8647113" y="2654300"/>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E51E92A-F6A9-40E2-9EDF-7AA2130F7EF7}" type="datetime'''''''''''''''''''''''5''''''''''''''''4''''''''0'''''''''''">
              <a:rPr lang="en-GB" altLang="en-US" sz="900" b="0" smtClean="0">
                <a:solidFill>
                  <a:srgbClr val="ACAEB1"/>
                </a:solidFill>
                <a:effectLst/>
                <a:latin typeface="Century Schoolbook (Body)"/>
                <a:sym typeface="Century Schoolbook (Body)"/>
              </a:rPr>
              <a:pPr lvl="0" algn="ctr">
                <a:spcBef>
                  <a:spcPct val="0"/>
                </a:spcBef>
                <a:spcAft>
                  <a:spcPct val="0"/>
                </a:spcAft>
              </a:pPr>
              <a:t>540</a:t>
            </a:fld>
            <a:endParaRPr lang="en-GB" sz="900" b="0" dirty="0">
              <a:solidFill>
                <a:srgbClr val="ACAEB1"/>
              </a:solidFill>
              <a:latin typeface="Century Schoolbook (Body)"/>
              <a:sym typeface="Century Schoolbook (Body)"/>
            </a:endParaRPr>
          </a:p>
        </p:txBody>
      </p:sp>
      <p:sp useBgFill="1">
        <p:nvSpPr>
          <p:cNvPr id="52" name="Text Placeholder 2">
            <a:extLst>
              <a:ext uri="{FF2B5EF4-FFF2-40B4-BE49-F238E27FC236}">
                <a16:creationId xmlns:a16="http://schemas.microsoft.com/office/drawing/2014/main" id="{DC6450C6-C664-6D04-3A24-D03E51C2390C}"/>
              </a:ext>
            </a:extLst>
          </p:cNvPr>
          <p:cNvSpPr>
            <a:spLocks/>
          </p:cNvSpPr>
          <p:nvPr>
            <p:custDataLst>
              <p:tags r:id="rId34"/>
            </p:custDataLst>
          </p:nvPr>
        </p:nvSpPr>
        <p:spPr bwMode="gray">
          <a:xfrm>
            <a:off x="9313863" y="220662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42EAA86-906A-4D20-8BD1-09280B4D3FC2}" type="datetime'''''''''''''''62''''''''''''''''''''''4'">
              <a:rPr lang="en-GB" altLang="en-US" sz="900" b="0" smtClean="0">
                <a:solidFill>
                  <a:srgbClr val="ACAEB1"/>
                </a:solidFill>
                <a:effectLst/>
                <a:latin typeface="Century Schoolbook (Body)"/>
                <a:sym typeface="Century Schoolbook (Body)"/>
              </a:rPr>
              <a:pPr lvl="0" algn="ctr">
                <a:spcBef>
                  <a:spcPct val="0"/>
                </a:spcBef>
                <a:spcAft>
                  <a:spcPct val="0"/>
                </a:spcAft>
              </a:pPr>
              <a:t>624</a:t>
            </a:fld>
            <a:endParaRPr lang="en-GB" sz="900" b="0" dirty="0">
              <a:solidFill>
                <a:srgbClr val="ACAEB1"/>
              </a:solidFill>
              <a:latin typeface="Century Schoolbook (Body)"/>
              <a:sym typeface="Century Schoolbook (Body)"/>
            </a:endParaRPr>
          </a:p>
        </p:txBody>
      </p:sp>
      <p:sp useBgFill="1">
        <p:nvSpPr>
          <p:cNvPr id="54" name="Text Placeholder 2">
            <a:extLst>
              <a:ext uri="{FF2B5EF4-FFF2-40B4-BE49-F238E27FC236}">
                <a16:creationId xmlns:a16="http://schemas.microsoft.com/office/drawing/2014/main" id="{75FD5DC4-0C0E-1191-9FC5-53DF4F924BA1}"/>
              </a:ext>
            </a:extLst>
          </p:cNvPr>
          <p:cNvSpPr>
            <a:spLocks/>
          </p:cNvSpPr>
          <p:nvPr>
            <p:custDataLst>
              <p:tags r:id="rId35"/>
            </p:custDataLst>
          </p:nvPr>
        </p:nvSpPr>
        <p:spPr bwMode="gray">
          <a:xfrm>
            <a:off x="9490075" y="453707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6D7AE4-BD8D-4644-88BE-DA2EA626F2E0}" type="datetime'''''''''''''''''''1''''''''''''8''7'">
              <a:rPr lang="en-GB" altLang="en-US" sz="900" b="0" smtClean="0">
                <a:solidFill>
                  <a:srgbClr val="ACAEB1"/>
                </a:solidFill>
                <a:effectLst/>
                <a:latin typeface="Century Schoolbook (Body)"/>
                <a:sym typeface="Century Schoolbook (Body)"/>
              </a:rPr>
              <a:pPr lvl="0" algn="ctr">
                <a:spcBef>
                  <a:spcPct val="0"/>
                </a:spcBef>
                <a:spcAft>
                  <a:spcPct val="0"/>
                </a:spcAft>
              </a:pPr>
              <a:t>187</a:t>
            </a:fld>
            <a:endParaRPr lang="en-GB" sz="900" b="0" dirty="0">
              <a:solidFill>
                <a:srgbClr val="ACAEB1"/>
              </a:solidFill>
              <a:latin typeface="Century Schoolbook (Body)"/>
              <a:sym typeface="Century Schoolbook (Body)"/>
            </a:endParaRPr>
          </a:p>
        </p:txBody>
      </p:sp>
      <p:sp useBgFill="1">
        <p:nvSpPr>
          <p:cNvPr id="56" name="Text Placeholder 2">
            <a:extLst>
              <a:ext uri="{FF2B5EF4-FFF2-40B4-BE49-F238E27FC236}">
                <a16:creationId xmlns:a16="http://schemas.microsoft.com/office/drawing/2014/main" id="{ED2E6CAC-9EC0-4650-644B-199EDAF7206E}"/>
              </a:ext>
            </a:extLst>
          </p:cNvPr>
          <p:cNvSpPr>
            <a:spLocks/>
          </p:cNvSpPr>
          <p:nvPr>
            <p:custDataLst>
              <p:tags r:id="rId36"/>
            </p:custDataLst>
          </p:nvPr>
        </p:nvSpPr>
        <p:spPr bwMode="gray">
          <a:xfrm>
            <a:off x="9982200" y="187642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C6BDDD8-4C91-4C73-AC45-174D37DD2DF5}" type="datetime'''6''''''''8''''6'''''''''''''''''''''''''''''''''''''''''''''">
              <a:rPr lang="en-GB" altLang="en-US" sz="900" b="0" smtClean="0">
                <a:solidFill>
                  <a:srgbClr val="ACAEB1"/>
                </a:solidFill>
                <a:effectLst/>
                <a:latin typeface="Century Schoolbook (Body)"/>
                <a:sym typeface="Century Schoolbook (Body)"/>
              </a:rPr>
              <a:pPr lvl="0" algn="ctr">
                <a:spcBef>
                  <a:spcPct val="0"/>
                </a:spcBef>
                <a:spcAft>
                  <a:spcPct val="0"/>
                </a:spcAft>
              </a:pPr>
              <a:t>686</a:t>
            </a:fld>
            <a:endParaRPr lang="en-GB" sz="900" b="0" dirty="0">
              <a:solidFill>
                <a:srgbClr val="ACAEB1"/>
              </a:solidFill>
              <a:latin typeface="Century Schoolbook (Body)"/>
              <a:sym typeface="Century Schoolbook (Body)"/>
            </a:endParaRPr>
          </a:p>
        </p:txBody>
      </p:sp>
      <p:sp useBgFill="1">
        <p:nvSpPr>
          <p:cNvPr id="57" name="Text Placeholder 2">
            <a:extLst>
              <a:ext uri="{FF2B5EF4-FFF2-40B4-BE49-F238E27FC236}">
                <a16:creationId xmlns:a16="http://schemas.microsoft.com/office/drawing/2014/main" id="{92574F5E-A85D-AB7B-DBCD-A5E13C65DE55}"/>
              </a:ext>
            </a:extLst>
          </p:cNvPr>
          <p:cNvSpPr>
            <a:spLocks/>
          </p:cNvSpPr>
          <p:nvPr>
            <p:custDataLst>
              <p:tags r:id="rId37"/>
            </p:custDataLst>
          </p:nvPr>
        </p:nvSpPr>
        <p:spPr bwMode="gray">
          <a:xfrm>
            <a:off x="10158413" y="4510088"/>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E4525E2-6B72-4092-8FC4-3C7BEF5F9A60}" type="datetime'''''''''''1''''''''''9''''''''''''''''''''''''''2'''''''''''''">
              <a:rPr lang="en-GB" altLang="en-US" sz="900" b="0" smtClean="0">
                <a:solidFill>
                  <a:srgbClr val="ACAEB1"/>
                </a:solidFill>
                <a:effectLst/>
                <a:latin typeface="Century Schoolbook (Body)"/>
                <a:sym typeface="Century Schoolbook (Body)"/>
              </a:rPr>
              <a:pPr lvl="0" algn="ctr">
                <a:spcBef>
                  <a:spcPct val="0"/>
                </a:spcBef>
                <a:spcAft>
                  <a:spcPct val="0"/>
                </a:spcAft>
              </a:pPr>
              <a:t>192</a:t>
            </a:fld>
            <a:endParaRPr lang="en-GB" sz="900" b="0" dirty="0">
              <a:solidFill>
                <a:srgbClr val="ACAEB1"/>
              </a:solidFill>
              <a:latin typeface="Century Schoolbook (Body)"/>
              <a:sym typeface="Century Schoolbook (Body)"/>
            </a:endParaRPr>
          </a:p>
        </p:txBody>
      </p:sp>
      <p:sp useBgFill="1">
        <p:nvSpPr>
          <p:cNvPr id="13" name="Text Placeholder 2">
            <a:extLst>
              <a:ext uri="{FF2B5EF4-FFF2-40B4-BE49-F238E27FC236}">
                <a16:creationId xmlns:a16="http://schemas.microsoft.com/office/drawing/2014/main" id="{67492DA0-5403-C0D2-9934-BDFE0726C8D9}"/>
              </a:ext>
            </a:extLst>
          </p:cNvPr>
          <p:cNvSpPr>
            <a:spLocks/>
          </p:cNvSpPr>
          <p:nvPr>
            <p:custDataLst>
              <p:tags r:id="rId38"/>
            </p:custDataLst>
          </p:nvPr>
        </p:nvSpPr>
        <p:spPr bwMode="gray">
          <a:xfrm>
            <a:off x="10474325" y="2990850"/>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858A08E-5ABE-42AD-B78A-72D9419C66E0}" type="datetime'''''''''''''''''''''''''''''''''''47''''''''''''''''''''''7'">
              <a:rPr lang="en-GB" altLang="en-US" sz="900" b="0" smtClean="0">
                <a:solidFill>
                  <a:srgbClr val="ACAEB1"/>
                </a:solidFill>
                <a:effectLst/>
                <a:latin typeface="Century Schoolbook (Body)"/>
              </a:rPr>
              <a:pPr/>
              <a:t>477</a:t>
            </a:fld>
            <a:endParaRPr lang="en-GB" sz="900" b="0" dirty="0">
              <a:solidFill>
                <a:srgbClr val="ACAEB1"/>
              </a:solidFill>
              <a:latin typeface="Century Schoolbook (Body)"/>
              <a:sym typeface="Century Schoolbook (Body)"/>
            </a:endParaRPr>
          </a:p>
        </p:txBody>
      </p:sp>
      <p:sp useBgFill="1">
        <p:nvSpPr>
          <p:cNvPr id="40" name="Text Placeholder 2">
            <a:extLst>
              <a:ext uri="{FF2B5EF4-FFF2-40B4-BE49-F238E27FC236}">
                <a16:creationId xmlns:a16="http://schemas.microsoft.com/office/drawing/2014/main" id="{AD105F86-895F-BD48-9572-42D9A394627C}"/>
              </a:ext>
            </a:extLst>
          </p:cNvPr>
          <p:cNvSpPr>
            <a:spLocks/>
          </p:cNvSpPr>
          <p:nvPr>
            <p:custDataLst>
              <p:tags r:id="rId39"/>
            </p:custDataLst>
          </p:nvPr>
        </p:nvSpPr>
        <p:spPr bwMode="gray">
          <a:xfrm>
            <a:off x="11317288" y="1660526"/>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92E7C31-C0C0-48F4-8F6E-61EE28F4ABDB}" type="datetime'''''''''7''2''''''''''''7'''''''''''''''''''">
              <a:rPr lang="en-GB" altLang="en-US" sz="900" b="0" smtClean="0">
                <a:solidFill>
                  <a:srgbClr val="ACAEB1"/>
                </a:solidFill>
                <a:effectLst/>
                <a:latin typeface="Century Schoolbook (Body)"/>
                <a:sym typeface="Century Schoolbook (Body)"/>
              </a:rPr>
              <a:pPr lvl="0" algn="ctr">
                <a:spcBef>
                  <a:spcPct val="0"/>
                </a:spcBef>
                <a:spcAft>
                  <a:spcPct val="0"/>
                </a:spcAft>
              </a:pPr>
              <a:t>727</a:t>
            </a:fld>
            <a:endParaRPr lang="en-GB" sz="900" b="0" dirty="0">
              <a:solidFill>
                <a:srgbClr val="ACAEB1"/>
              </a:solidFill>
              <a:latin typeface="Century Schoolbook (Body)"/>
              <a:sym typeface="Century Schoolbook (Body)"/>
            </a:endParaRPr>
          </a:p>
        </p:txBody>
      </p:sp>
      <p:sp useBgFill="1">
        <p:nvSpPr>
          <p:cNvPr id="20" name="Text Placeholder 2">
            <a:extLst>
              <a:ext uri="{FF2B5EF4-FFF2-40B4-BE49-F238E27FC236}">
                <a16:creationId xmlns:a16="http://schemas.microsoft.com/office/drawing/2014/main" id="{79ACFEA6-BF51-081B-E7A0-4167D6E67A2F}"/>
              </a:ext>
            </a:extLst>
          </p:cNvPr>
          <p:cNvSpPr>
            <a:spLocks/>
          </p:cNvSpPr>
          <p:nvPr>
            <p:custDataLst>
              <p:tags r:id="rId40"/>
            </p:custDataLst>
          </p:nvPr>
        </p:nvSpPr>
        <p:spPr bwMode="gray">
          <a:xfrm>
            <a:off x="3127375" y="350837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C6529CC-69EA-4D0F-817B-48EAFE5DF52B}" type="datetime'''''''''''''''''''''3''''''''''''80'''''''''''''''''''''''">
              <a:rPr lang="en-GB" altLang="en-US" sz="900" b="0" smtClean="0">
                <a:solidFill>
                  <a:srgbClr val="ACAEB1"/>
                </a:solidFill>
                <a:effectLst/>
                <a:latin typeface="Century Schoolbook (Body)"/>
                <a:sym typeface="Century Schoolbook (Body)"/>
              </a:rPr>
              <a:pPr lvl="0" algn="ctr">
                <a:spcBef>
                  <a:spcPct val="0"/>
                </a:spcBef>
                <a:spcAft>
                  <a:spcPct val="0"/>
                </a:spcAft>
              </a:pPr>
              <a:t>380</a:t>
            </a:fld>
            <a:endParaRPr lang="en-GB" sz="900" b="0" dirty="0">
              <a:solidFill>
                <a:srgbClr val="ACAEB1"/>
              </a:solidFill>
              <a:latin typeface="Century Schoolbook (Body)"/>
              <a:sym typeface="Century Schoolbook (Body)"/>
            </a:endParaRPr>
          </a:p>
        </p:txBody>
      </p:sp>
      <p:sp>
        <p:nvSpPr>
          <p:cNvPr id="220" name="Rectangle 219">
            <a:extLst>
              <a:ext uri="{FF2B5EF4-FFF2-40B4-BE49-F238E27FC236}">
                <a16:creationId xmlns:a16="http://schemas.microsoft.com/office/drawing/2014/main" id="{C2F0CD16-FE1B-CE61-614E-7B545B5AE458}"/>
              </a:ext>
            </a:extLst>
          </p:cNvPr>
          <p:cNvSpPr/>
          <p:nvPr>
            <p:custDataLst>
              <p:tags r:id="rId41"/>
            </p:custDataLst>
          </p:nvPr>
        </p:nvSpPr>
        <p:spPr bwMode="auto">
          <a:xfrm>
            <a:off x="4891088" y="5967413"/>
            <a:ext cx="160338" cy="120650"/>
          </a:xfrm>
          <a:prstGeom prst="rect">
            <a:avLst/>
          </a:prstGeom>
          <a:solidFill>
            <a:srgbClr val="7030A0"/>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1" name="Rectangle 220">
            <a:extLst>
              <a:ext uri="{FF2B5EF4-FFF2-40B4-BE49-F238E27FC236}">
                <a16:creationId xmlns:a16="http://schemas.microsoft.com/office/drawing/2014/main" id="{C83710D4-4FDA-A306-58EA-DEAD8A9B536F}"/>
              </a:ext>
            </a:extLst>
          </p:cNvPr>
          <p:cNvSpPr/>
          <p:nvPr>
            <p:custDataLst>
              <p:tags r:id="rId42"/>
            </p:custDataLst>
          </p:nvPr>
        </p:nvSpPr>
        <p:spPr bwMode="auto">
          <a:xfrm>
            <a:off x="5734050" y="5967413"/>
            <a:ext cx="160338" cy="120650"/>
          </a:xfrm>
          <a:prstGeom prst="rect">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2" name="Rectangle 221">
            <a:extLst>
              <a:ext uri="{FF2B5EF4-FFF2-40B4-BE49-F238E27FC236}">
                <a16:creationId xmlns:a16="http://schemas.microsoft.com/office/drawing/2014/main" id="{8A69F25D-2B98-5808-751A-2794A76CD19B}"/>
              </a:ext>
            </a:extLst>
          </p:cNvPr>
          <p:cNvSpPr/>
          <p:nvPr>
            <p:custDataLst>
              <p:tags r:id="rId43"/>
            </p:custDataLst>
          </p:nvPr>
        </p:nvSpPr>
        <p:spPr bwMode="auto">
          <a:xfrm>
            <a:off x="6526213" y="5967413"/>
            <a:ext cx="160338" cy="120650"/>
          </a:xfrm>
          <a:prstGeom prst="rect">
            <a:avLst/>
          </a:prstGeom>
          <a:solidFill>
            <a:schemeClr val="accent3"/>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6" name="Text Placeholder 2">
            <a:extLst>
              <a:ext uri="{FF2B5EF4-FFF2-40B4-BE49-F238E27FC236}">
                <a16:creationId xmlns:a16="http://schemas.microsoft.com/office/drawing/2014/main" id="{624F323D-64F3-6E86-3169-E14B1C029AC6}"/>
              </a:ext>
            </a:extLst>
          </p:cNvPr>
          <p:cNvSpPr>
            <a:spLocks/>
          </p:cNvSpPr>
          <p:nvPr>
            <p:custDataLst>
              <p:tags r:id="rId44"/>
            </p:custDataLst>
          </p:nvPr>
        </p:nvSpPr>
        <p:spPr bwMode="auto">
          <a:xfrm>
            <a:off x="5102225" y="5964238"/>
            <a:ext cx="530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631A91B7-B58B-41EB-9B84-29AD503BD45A}" type="datetime'''''''Tra''''''''''''''n''''''''s''''''''por''''''''''''''''t'">
              <a:rPr lang="en-GB" altLang="en-US" sz="900" b="0" smtClean="0">
                <a:solidFill>
                  <a:srgbClr val="ACAEB1"/>
                </a:solidFill>
                <a:latin typeface="Century Schoolbook (Body)"/>
              </a:rPr>
              <a:pPr/>
              <a:t>Transport</a:t>
            </a:fld>
            <a:endParaRPr lang="en-GB" sz="900" b="0" dirty="0">
              <a:solidFill>
                <a:srgbClr val="ACAEB1"/>
              </a:solidFill>
              <a:latin typeface="Century Schoolbook (Body)"/>
              <a:sym typeface="Century Schoolbook (Body)"/>
            </a:endParaRPr>
          </a:p>
        </p:txBody>
      </p:sp>
      <p:sp>
        <p:nvSpPr>
          <p:cNvPr id="214" name="Text Placeholder 2">
            <a:extLst>
              <a:ext uri="{FF2B5EF4-FFF2-40B4-BE49-F238E27FC236}">
                <a16:creationId xmlns:a16="http://schemas.microsoft.com/office/drawing/2014/main" id="{8FE03ABC-4835-969F-1C0B-A369F81E50EF}"/>
              </a:ext>
            </a:extLst>
          </p:cNvPr>
          <p:cNvSpPr>
            <a:spLocks/>
          </p:cNvSpPr>
          <p:nvPr>
            <p:custDataLst>
              <p:tags r:id="rId45"/>
            </p:custDataLst>
          </p:nvPr>
        </p:nvSpPr>
        <p:spPr bwMode="auto">
          <a:xfrm>
            <a:off x="5945188" y="5964238"/>
            <a:ext cx="479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8B1E3A00-38FF-484E-A52C-FAC194950F0C}" type="datetime'''''''''''R''''''''''''o''a''''''d''''s''''''''i''''''de'''">
              <a:rPr lang="en-GB" altLang="en-US" sz="900" b="0" smtClean="0">
                <a:solidFill>
                  <a:srgbClr val="ACAEB1"/>
                </a:solidFill>
                <a:latin typeface="Century Schoolbook (Body)"/>
              </a:rPr>
              <a:pPr/>
              <a:t>Roadside</a:t>
            </a:fld>
            <a:endParaRPr lang="en-GB" sz="900" b="0" dirty="0">
              <a:solidFill>
                <a:srgbClr val="ACAEB1"/>
              </a:solidFill>
              <a:latin typeface="Century Schoolbook (Body)"/>
              <a:sym typeface="Century Schoolbook (Body)"/>
            </a:endParaRPr>
          </a:p>
        </p:txBody>
      </p:sp>
      <p:sp>
        <p:nvSpPr>
          <p:cNvPr id="217" name="Text Placeholder 2">
            <a:extLst>
              <a:ext uri="{FF2B5EF4-FFF2-40B4-BE49-F238E27FC236}">
                <a16:creationId xmlns:a16="http://schemas.microsoft.com/office/drawing/2014/main" id="{ED6A80E2-2D43-96A9-CC45-088D5D8668E7}"/>
              </a:ext>
            </a:extLst>
          </p:cNvPr>
          <p:cNvSpPr>
            <a:spLocks/>
          </p:cNvSpPr>
          <p:nvPr>
            <p:custDataLst>
              <p:tags r:id="rId46"/>
            </p:custDataLst>
          </p:nvPr>
        </p:nvSpPr>
        <p:spPr bwMode="auto">
          <a:xfrm>
            <a:off x="6737350" y="5964238"/>
            <a:ext cx="969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6EE95899-CAF7-444B-A550-01DA457BAC40}" type="datetime'P''''''o''''''''s/''''''Re''''''tai''l/L''''e''''i''su''r''e'">
              <a:rPr lang="en-GB" altLang="en-US" sz="900" b="0" smtClean="0">
                <a:solidFill>
                  <a:srgbClr val="ACAEB1"/>
                </a:solidFill>
                <a:latin typeface="Century Schoolbook (Body)"/>
              </a:rPr>
              <a:pPr/>
              <a:t>Pos/Retail/Leisure</a:t>
            </a:fld>
            <a:endParaRPr lang="en-GB" sz="900" b="0" dirty="0">
              <a:solidFill>
                <a:srgbClr val="ACAEB1"/>
              </a:solidFill>
              <a:latin typeface="Century Schoolbook (Body)"/>
              <a:sym typeface="Century Schoolbook (Body)"/>
            </a:endParaRPr>
          </a:p>
        </p:txBody>
      </p:sp>
    </p:spTree>
    <p:extLst>
      <p:ext uri="{BB962C8B-B14F-4D97-AF65-F5344CB8AC3E}">
        <p14:creationId xmlns:p14="http://schemas.microsoft.com/office/powerpoint/2010/main" val="4167616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9200" y="911456"/>
            <a:ext cx="8061691" cy="646331"/>
          </a:xfrm>
          <a:prstGeom prst="rect">
            <a:avLst/>
          </a:prstGeom>
          <a:noFill/>
        </p:spPr>
        <p:txBody>
          <a:bodyPr wrap="square" rtlCol="0">
            <a:spAutoFit/>
          </a:bodyPr>
          <a:lstStyle/>
          <a:p>
            <a:r>
              <a:rPr lang="en-GB" sz="3600" b="1">
                <a:solidFill>
                  <a:schemeClr val="bg1"/>
                </a:solidFill>
                <a:latin typeface="Arial" panose="020B0604020202020204" pitchFamily="34" charset="0"/>
                <a:cs typeface="Arial" panose="020B0604020202020204" pitchFamily="34" charset="0"/>
              </a:rPr>
              <a:t>UK Digital Out of Home Revenue </a:t>
            </a:r>
          </a:p>
        </p:txBody>
      </p:sp>
      <p:pic>
        <p:nvPicPr>
          <p:cNvPr id="2" name="Picture 1" descr="A black and white logo&#10;&#10;AI-generated content may be incorrect.">
            <a:extLst>
              <a:ext uri="{FF2B5EF4-FFF2-40B4-BE49-F238E27FC236}">
                <a16:creationId xmlns:a16="http://schemas.microsoft.com/office/drawing/2014/main" id="{20A598F0-C8FA-1F50-9912-3F180ACE527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20297" y="5959476"/>
            <a:ext cx="926104" cy="613545"/>
          </a:xfrm>
          <a:prstGeom prst="rect">
            <a:avLst/>
          </a:prstGeom>
        </p:spPr>
      </p:pic>
    </p:spTree>
    <p:extLst>
      <p:ext uri="{BB962C8B-B14F-4D97-AF65-F5344CB8AC3E}">
        <p14:creationId xmlns:p14="http://schemas.microsoft.com/office/powerpoint/2010/main" val="1729936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E9779-8251-A408-877D-3E49B2D3A9CA}"/>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BB6034-A89C-6C54-DB65-ED3FD37D6B48}"/>
              </a:ext>
            </a:extLst>
          </p:cNvPr>
          <p:cNvGraphicFramePr>
            <a:graphicFrameLocks/>
          </p:cNvGraphicFramePr>
          <p:nvPr>
            <p:custDataLst>
              <p:tags r:id="rId1"/>
            </p:custDataLst>
            <p:extLst>
              <p:ext uri="{D42A27DB-BD31-4B8C-83A1-F6EECF244321}">
                <p14:modId xmlns:p14="http://schemas.microsoft.com/office/powerpoint/2010/main" val="279127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4" name="Object 3" hidden="1">
                        <a:extLst>
                          <a:ext uri="{FF2B5EF4-FFF2-40B4-BE49-F238E27FC236}">
                            <a16:creationId xmlns:a16="http://schemas.microsoft.com/office/drawing/2014/main" id="{56BB6034-A89C-6C54-DB65-ED3FD37D6B48}"/>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BF59684C-688D-910F-AB46-887E3E85E888}"/>
              </a:ext>
            </a:extLst>
          </p:cNvPr>
          <p:cNvSpPr>
            <a:spLocks noGrp="1"/>
          </p:cNvSpPr>
          <p:nvPr>
            <p:ph type="title"/>
          </p:nvPr>
        </p:nvSpPr>
        <p:spPr>
          <a:xfrm>
            <a:off x="438150" y="408720"/>
            <a:ext cx="11328400" cy="610455"/>
          </a:xfrm>
        </p:spPr>
        <p:txBody>
          <a:bodyPr vert="horz"/>
          <a:lstStyle/>
          <a:p>
            <a:r>
              <a:rPr lang="en-GB" sz="2200"/>
              <a:t>UK Digital Out of Home Revenue</a:t>
            </a:r>
            <a:endParaRPr lang="en-US"/>
          </a:p>
        </p:txBody>
      </p:sp>
      <p:sp>
        <p:nvSpPr>
          <p:cNvPr id="5" name="Title 1">
            <a:extLst>
              <a:ext uri="{FF2B5EF4-FFF2-40B4-BE49-F238E27FC236}">
                <a16:creationId xmlns:a16="http://schemas.microsoft.com/office/drawing/2014/main" id="{03962B09-173C-0A48-D93A-1D4383BD83E7}"/>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33FC78A0-69F7-AEE3-474E-59C3DB2CFFFE}"/>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7"/>
              </a:ext>
            </a:extLst>
          </a:blip>
          <a:stretch>
            <a:fillRect/>
          </a:stretch>
        </p:blipFill>
        <p:spPr>
          <a:xfrm>
            <a:off x="11161188" y="6279305"/>
            <a:ext cx="605362" cy="294658"/>
          </a:xfrm>
          <a:prstGeom prst="rect">
            <a:avLst/>
          </a:prstGeom>
        </p:spPr>
      </p:pic>
      <p:cxnSp>
        <p:nvCxnSpPr>
          <p:cNvPr id="38" name="Straight Connector 37">
            <a:extLst>
              <a:ext uri="{FF2B5EF4-FFF2-40B4-BE49-F238E27FC236}">
                <a16:creationId xmlns:a16="http://schemas.microsoft.com/office/drawing/2014/main" id="{DE41A981-79E1-A903-9717-CB8D14921688}"/>
              </a:ext>
            </a:extLst>
          </p:cNvPr>
          <p:cNvCxnSpPr/>
          <p:nvPr>
            <p:custDataLst>
              <p:tags r:id="rId2"/>
            </p:custDataLst>
          </p:nvPr>
        </p:nvCxnSpPr>
        <p:spPr bwMode="gray">
          <a:xfrm>
            <a:off x="1081088" y="5295900"/>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70F33B3F-D3A4-EBDD-5441-5D24FBD73D6B}"/>
              </a:ext>
            </a:extLst>
          </p:cNvPr>
          <p:cNvCxnSpPr/>
          <p:nvPr>
            <p:custDataLst>
              <p:tags r:id="rId3"/>
            </p:custDataLst>
          </p:nvPr>
        </p:nvCxnSpPr>
        <p:spPr bwMode="gray">
          <a:xfrm>
            <a:off x="1081088" y="4895850"/>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073AEE74-E72F-58D6-2D0B-7BF839C39265}"/>
              </a:ext>
            </a:extLst>
          </p:cNvPr>
          <p:cNvCxnSpPr/>
          <p:nvPr>
            <p:custDataLst>
              <p:tags r:id="rId4"/>
            </p:custDataLst>
          </p:nvPr>
        </p:nvCxnSpPr>
        <p:spPr bwMode="gray">
          <a:xfrm>
            <a:off x="1081088" y="4495800"/>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E82D5DC-F453-81AC-5B72-CDAFA577DAF7}"/>
              </a:ext>
            </a:extLst>
          </p:cNvPr>
          <p:cNvCxnSpPr/>
          <p:nvPr>
            <p:custDataLst>
              <p:tags r:id="rId5"/>
            </p:custDataLst>
          </p:nvPr>
        </p:nvCxnSpPr>
        <p:spPr bwMode="gray">
          <a:xfrm>
            <a:off x="1081088" y="4095750"/>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245F89BF-C90C-8156-B78C-AFF3776424BD}"/>
              </a:ext>
            </a:extLst>
          </p:cNvPr>
          <p:cNvCxnSpPr/>
          <p:nvPr>
            <p:custDataLst>
              <p:tags r:id="rId6"/>
            </p:custDataLst>
          </p:nvPr>
        </p:nvCxnSpPr>
        <p:spPr bwMode="gray">
          <a:xfrm>
            <a:off x="1081088" y="3697288"/>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41706F9B-E06C-F93A-5CBA-6731E4C7B093}"/>
              </a:ext>
            </a:extLst>
          </p:cNvPr>
          <p:cNvCxnSpPr/>
          <p:nvPr>
            <p:custDataLst>
              <p:tags r:id="rId7"/>
            </p:custDataLst>
          </p:nvPr>
        </p:nvCxnSpPr>
        <p:spPr bwMode="gray">
          <a:xfrm>
            <a:off x="1081088" y="3297238"/>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80E276AA-539F-D1C8-D175-E923D016035A}"/>
              </a:ext>
            </a:extLst>
          </p:cNvPr>
          <p:cNvCxnSpPr/>
          <p:nvPr>
            <p:custDataLst>
              <p:tags r:id="rId8"/>
            </p:custDataLst>
          </p:nvPr>
        </p:nvCxnSpPr>
        <p:spPr bwMode="gray">
          <a:xfrm>
            <a:off x="1081088" y="2897188"/>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B8D77553-1EF6-4061-F2D6-78EA9C2274CC}"/>
              </a:ext>
            </a:extLst>
          </p:cNvPr>
          <p:cNvCxnSpPr/>
          <p:nvPr>
            <p:custDataLst>
              <p:tags r:id="rId9"/>
            </p:custDataLst>
          </p:nvPr>
        </p:nvCxnSpPr>
        <p:spPr bwMode="gray">
          <a:xfrm>
            <a:off x="1081088" y="2497138"/>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A394BACB-2133-CC64-887B-8599B536463C}"/>
              </a:ext>
            </a:extLst>
          </p:cNvPr>
          <p:cNvCxnSpPr/>
          <p:nvPr>
            <p:custDataLst>
              <p:tags r:id="rId10"/>
            </p:custDataLst>
          </p:nvPr>
        </p:nvCxnSpPr>
        <p:spPr bwMode="gray">
          <a:xfrm>
            <a:off x="1081088" y="2097088"/>
            <a:ext cx="10685462" cy="0"/>
          </a:xfrm>
          <a:prstGeom prst="line">
            <a:avLst/>
          </a:prstGeom>
          <a:ln w="3175" cap="flat" cmpd="sng" algn="ctr">
            <a:solidFill>
              <a:srgbClr val="DEDED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CB46E33-A47B-3101-40C1-540966347DB4}"/>
              </a:ext>
            </a:extLst>
          </p:cNvPr>
          <p:cNvCxnSpPr/>
          <p:nvPr>
            <p:custDataLst>
              <p:tags r:id="rId11"/>
            </p:custDataLst>
          </p:nvPr>
        </p:nvCxnSpPr>
        <p:spPr bwMode="gray">
          <a:xfrm>
            <a:off x="1081088" y="1697038"/>
            <a:ext cx="10685462" cy="0"/>
          </a:xfrm>
          <a:prstGeom prst="line">
            <a:avLst/>
          </a:prstGeom>
          <a:ln w="3175" cap="flat" cmpd="sng" algn="ctr">
            <a:solidFill>
              <a:srgbClr val="EBEBE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 name="Chart 16">
            <a:extLst>
              <a:ext uri="{FF2B5EF4-FFF2-40B4-BE49-F238E27FC236}">
                <a16:creationId xmlns:a16="http://schemas.microsoft.com/office/drawing/2014/main" id="{1FD86785-4185-257A-5F38-01862492BF35}"/>
              </a:ext>
            </a:extLst>
          </p:cNvPr>
          <p:cNvGraphicFramePr/>
          <p:nvPr>
            <p:custDataLst>
              <p:tags r:id="rId12"/>
            </p:custDataLst>
            <p:extLst>
              <p:ext uri="{D42A27DB-BD31-4B8C-83A1-F6EECF244321}">
                <p14:modId xmlns:p14="http://schemas.microsoft.com/office/powerpoint/2010/main" val="3113028951"/>
              </p:ext>
            </p:extLst>
          </p:nvPr>
        </p:nvGraphicFramePr>
        <p:xfrm>
          <a:off x="584200" y="1492250"/>
          <a:ext cx="11264900" cy="4408488"/>
        </p:xfrm>
        <a:graphic>
          <a:graphicData uri="http://schemas.openxmlformats.org/drawingml/2006/chart">
            <c:chart xmlns:c="http://schemas.openxmlformats.org/drawingml/2006/chart" xmlns:r="http://schemas.openxmlformats.org/officeDocument/2006/relationships" r:id="rId38"/>
          </a:graphicData>
        </a:graphic>
      </p:graphicFrame>
      <p:sp>
        <p:nvSpPr>
          <p:cNvPr id="53" name="Text Placeholder 2">
            <a:extLst>
              <a:ext uri="{FF2B5EF4-FFF2-40B4-BE49-F238E27FC236}">
                <a16:creationId xmlns:a16="http://schemas.microsoft.com/office/drawing/2014/main" id="{C1D41DAF-9369-872E-D4AF-00B29C25C98A}"/>
              </a:ext>
            </a:extLst>
          </p:cNvPr>
          <p:cNvSpPr>
            <a:spLocks/>
          </p:cNvSpPr>
          <p:nvPr>
            <p:custDataLst>
              <p:tags r:id="rId13"/>
            </p:custDataLst>
          </p:nvPr>
        </p:nvSpPr>
        <p:spPr bwMode="auto">
          <a:xfrm>
            <a:off x="993775" y="14335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r>
              <a:rPr lang="en-GB" sz="900" dirty="0">
                <a:solidFill>
                  <a:srgbClr val="ACAEB1"/>
                </a:solidFill>
                <a:latin typeface="Century Schoolbook (Body)"/>
              </a:rPr>
              <a:t>£m</a:t>
            </a:r>
          </a:p>
        </p:txBody>
      </p:sp>
      <p:sp>
        <p:nvSpPr>
          <p:cNvPr id="8" name="Text Placeholder 2">
            <a:extLst>
              <a:ext uri="{FF2B5EF4-FFF2-40B4-BE49-F238E27FC236}">
                <a16:creationId xmlns:a16="http://schemas.microsoft.com/office/drawing/2014/main" id="{FA077929-F775-590F-241B-D506ECCC1375}"/>
              </a:ext>
            </a:extLst>
          </p:cNvPr>
          <p:cNvSpPr>
            <a:spLocks/>
          </p:cNvSpPr>
          <p:nvPr>
            <p:custDataLst>
              <p:tags r:id="rId14"/>
            </p:custDataLst>
          </p:nvPr>
        </p:nvSpPr>
        <p:spPr bwMode="auto">
          <a:xfrm>
            <a:off x="13033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EF611C-A07F-4D9C-A239-DB28F813C6AD}" type="datetime'''20''''''''''1''''''''''''''''''''''''''1'''''''">
              <a:rPr lang="en-GB" altLang="en-US" sz="900" b="0" smtClean="0">
                <a:solidFill>
                  <a:srgbClr val="ACAEB1"/>
                </a:solidFill>
                <a:latin typeface="Century Schoolbook (Body)"/>
              </a:rPr>
              <a:pPr/>
              <a:t>2011</a:t>
            </a:fld>
            <a:endParaRPr lang="en-GB" sz="900" b="0" dirty="0">
              <a:solidFill>
                <a:srgbClr val="ACAEB1"/>
              </a:solidFill>
              <a:latin typeface="Century Schoolbook (Body)"/>
              <a:sym typeface="Century Schoolbook (Body)"/>
            </a:endParaRPr>
          </a:p>
        </p:txBody>
      </p:sp>
      <p:sp>
        <p:nvSpPr>
          <p:cNvPr id="9" name="Text Placeholder 2">
            <a:extLst>
              <a:ext uri="{FF2B5EF4-FFF2-40B4-BE49-F238E27FC236}">
                <a16:creationId xmlns:a16="http://schemas.microsoft.com/office/drawing/2014/main" id="{24739A56-B91D-DB7B-B53C-257ED75DB554}"/>
              </a:ext>
            </a:extLst>
          </p:cNvPr>
          <p:cNvSpPr>
            <a:spLocks/>
          </p:cNvSpPr>
          <p:nvPr>
            <p:custDataLst>
              <p:tags r:id="rId15"/>
            </p:custDataLst>
          </p:nvPr>
        </p:nvSpPr>
        <p:spPr bwMode="auto">
          <a:xfrm>
            <a:off x="20145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E5F40CC-1D16-467B-B3FA-C9CA09AF1263}" type="datetime'''2''0''''''''''''''''1''''2'''''''''''''''''''''''">
              <a:rPr lang="en-GB" altLang="en-US" sz="900" b="0" smtClean="0">
                <a:solidFill>
                  <a:srgbClr val="ACAEB1"/>
                </a:solidFill>
                <a:latin typeface="Century Schoolbook (Body)"/>
              </a:rPr>
              <a:pPr/>
              <a:t>2012</a:t>
            </a:fld>
            <a:endParaRPr lang="en-GB" sz="900" b="0" dirty="0">
              <a:solidFill>
                <a:srgbClr val="ACAEB1"/>
              </a:solidFill>
              <a:latin typeface="Century Schoolbook (Body)"/>
              <a:sym typeface="Century Schoolbook (Body)"/>
            </a:endParaRPr>
          </a:p>
        </p:txBody>
      </p:sp>
      <p:sp>
        <p:nvSpPr>
          <p:cNvPr id="10" name="Text Placeholder 2">
            <a:extLst>
              <a:ext uri="{FF2B5EF4-FFF2-40B4-BE49-F238E27FC236}">
                <a16:creationId xmlns:a16="http://schemas.microsoft.com/office/drawing/2014/main" id="{36D08746-D76B-AB89-E962-14715FBB9B0D}"/>
              </a:ext>
            </a:extLst>
          </p:cNvPr>
          <p:cNvSpPr>
            <a:spLocks/>
          </p:cNvSpPr>
          <p:nvPr>
            <p:custDataLst>
              <p:tags r:id="rId16"/>
            </p:custDataLst>
          </p:nvPr>
        </p:nvSpPr>
        <p:spPr bwMode="auto">
          <a:xfrm>
            <a:off x="27273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399E1C3-18B0-454B-A22F-A8E868AFDF36}" type="datetime'''201''3'''''''''''''''''''''''''''''''''''''''''''''''''''''">
              <a:rPr lang="en-GB" altLang="en-US" sz="900" b="0" smtClean="0">
                <a:solidFill>
                  <a:srgbClr val="ACAEB1"/>
                </a:solidFill>
                <a:latin typeface="Century Schoolbook (Body)"/>
              </a:rPr>
              <a:pPr/>
              <a:t>2013</a:t>
            </a:fld>
            <a:endParaRPr lang="en-GB" sz="900" b="0" dirty="0">
              <a:solidFill>
                <a:srgbClr val="ACAEB1"/>
              </a:solidFill>
              <a:latin typeface="Century Schoolbook (Body)"/>
              <a:sym typeface="Century Schoolbook (Body)"/>
            </a:endParaRPr>
          </a:p>
        </p:txBody>
      </p:sp>
      <p:sp>
        <p:nvSpPr>
          <p:cNvPr id="21" name="Text Placeholder 2">
            <a:extLst>
              <a:ext uri="{FF2B5EF4-FFF2-40B4-BE49-F238E27FC236}">
                <a16:creationId xmlns:a16="http://schemas.microsoft.com/office/drawing/2014/main" id="{51D23AC3-F7C8-22C6-409A-790CADCC848B}"/>
              </a:ext>
            </a:extLst>
          </p:cNvPr>
          <p:cNvSpPr>
            <a:spLocks/>
          </p:cNvSpPr>
          <p:nvPr>
            <p:custDataLst>
              <p:tags r:id="rId17"/>
            </p:custDataLst>
          </p:nvPr>
        </p:nvSpPr>
        <p:spPr bwMode="auto">
          <a:xfrm>
            <a:off x="34401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8B066F8-FE61-4D19-AFEB-D628D05AFE5E}" type="datetime'''''''''''''''''''''''''''20''''''''1''''''''''''4'''''">
              <a:rPr lang="en-GB" altLang="en-US" sz="900" b="0" smtClean="0">
                <a:solidFill>
                  <a:srgbClr val="ACAEB1"/>
                </a:solidFill>
                <a:latin typeface="Century Schoolbook (Body)"/>
              </a:rPr>
              <a:pPr/>
              <a:t>2014</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2B9FD959-7F44-9F50-693B-B025415D6ACC}"/>
              </a:ext>
            </a:extLst>
          </p:cNvPr>
          <p:cNvSpPr>
            <a:spLocks/>
          </p:cNvSpPr>
          <p:nvPr>
            <p:custDataLst>
              <p:tags r:id="rId18"/>
            </p:custDataLst>
          </p:nvPr>
        </p:nvSpPr>
        <p:spPr bwMode="auto">
          <a:xfrm>
            <a:off x="41529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4A8C820-E305-46C9-8E83-4F081F246839}" type="datetime'''''''''''''''''''''2''''''''''''''''''''01''''''''''''''5'''">
              <a:rPr lang="en-GB" altLang="en-US" sz="900" b="0" smtClean="0">
                <a:solidFill>
                  <a:srgbClr val="ACAEB1"/>
                </a:solidFill>
                <a:latin typeface="Century Schoolbook (Body)"/>
              </a:rPr>
              <a:pPr/>
              <a:t>2015</a:t>
            </a:fld>
            <a:endParaRPr lang="en-GB" sz="900" b="0" dirty="0">
              <a:solidFill>
                <a:srgbClr val="ACAEB1"/>
              </a:solidFill>
              <a:latin typeface="Century Schoolbook (Body)"/>
              <a:sym typeface="Century Schoolbook (Body)"/>
            </a:endParaRPr>
          </a:p>
        </p:txBody>
      </p:sp>
      <p:sp>
        <p:nvSpPr>
          <p:cNvPr id="23" name="Text Placeholder 2">
            <a:extLst>
              <a:ext uri="{FF2B5EF4-FFF2-40B4-BE49-F238E27FC236}">
                <a16:creationId xmlns:a16="http://schemas.microsoft.com/office/drawing/2014/main" id="{74D0D4E7-A791-7163-E186-252AD46DEA1F}"/>
              </a:ext>
            </a:extLst>
          </p:cNvPr>
          <p:cNvSpPr>
            <a:spLocks/>
          </p:cNvSpPr>
          <p:nvPr>
            <p:custDataLst>
              <p:tags r:id="rId19"/>
            </p:custDataLst>
          </p:nvPr>
        </p:nvSpPr>
        <p:spPr bwMode="auto">
          <a:xfrm>
            <a:off x="48641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887F468-2BEE-4EC2-8C35-ABA6C1EDE211}" type="datetime'''''''''''''2''''0''''''''''''''''''''1''6'''''''">
              <a:rPr lang="en-GB" altLang="en-US" sz="900" b="0" smtClean="0">
                <a:solidFill>
                  <a:srgbClr val="ACAEB1"/>
                </a:solidFill>
                <a:latin typeface="Century Schoolbook (Body)"/>
              </a:rPr>
              <a:pPr/>
              <a:t>2016</a:t>
            </a:fld>
            <a:endParaRPr lang="en-GB" sz="900" b="0" dirty="0">
              <a:solidFill>
                <a:srgbClr val="ACAEB1"/>
              </a:solidFill>
              <a:latin typeface="Century Schoolbook (Body)"/>
              <a:sym typeface="Century Schoolbook (Body)"/>
            </a:endParaRPr>
          </a:p>
        </p:txBody>
      </p:sp>
      <p:sp>
        <p:nvSpPr>
          <p:cNvPr id="24" name="Text Placeholder 2">
            <a:extLst>
              <a:ext uri="{FF2B5EF4-FFF2-40B4-BE49-F238E27FC236}">
                <a16:creationId xmlns:a16="http://schemas.microsoft.com/office/drawing/2014/main" id="{34AC7AEB-E9A1-24DF-9822-2900868642A1}"/>
              </a:ext>
            </a:extLst>
          </p:cNvPr>
          <p:cNvSpPr>
            <a:spLocks/>
          </p:cNvSpPr>
          <p:nvPr>
            <p:custDataLst>
              <p:tags r:id="rId20"/>
            </p:custDataLst>
          </p:nvPr>
        </p:nvSpPr>
        <p:spPr bwMode="auto">
          <a:xfrm>
            <a:off x="557688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9A3DA68-AFAF-440E-9240-D9743B0F8D9C}" type="datetime'''''''2''''''''''''''''''01''''''''''''''''''''''''7'''">
              <a:rPr lang="en-GB" altLang="en-US" sz="900" b="0" smtClean="0">
                <a:solidFill>
                  <a:srgbClr val="ACAEB1"/>
                </a:solidFill>
                <a:latin typeface="Century Schoolbook (Body)"/>
              </a:rPr>
              <a:pPr/>
              <a:t>2017</a:t>
            </a:fld>
            <a:endParaRPr lang="en-GB" sz="900" b="0" dirty="0">
              <a:solidFill>
                <a:srgbClr val="ACAEB1"/>
              </a:solidFill>
              <a:latin typeface="Century Schoolbook (Body)"/>
              <a:sym typeface="Century Schoolbook (Body)"/>
            </a:endParaRPr>
          </a:p>
        </p:txBody>
      </p:sp>
      <p:sp>
        <p:nvSpPr>
          <p:cNvPr id="25" name="Text Placeholder 2">
            <a:extLst>
              <a:ext uri="{FF2B5EF4-FFF2-40B4-BE49-F238E27FC236}">
                <a16:creationId xmlns:a16="http://schemas.microsoft.com/office/drawing/2014/main" id="{390CA832-2646-143E-101F-6EF95C6A76A2}"/>
              </a:ext>
            </a:extLst>
          </p:cNvPr>
          <p:cNvSpPr>
            <a:spLocks/>
          </p:cNvSpPr>
          <p:nvPr>
            <p:custDataLst>
              <p:tags r:id="rId21"/>
            </p:custDataLst>
          </p:nvPr>
        </p:nvSpPr>
        <p:spPr bwMode="auto">
          <a:xfrm>
            <a:off x="62896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B8DD0FC-FBD5-456B-9999-3E98FE336244}" type="datetime'''''2''0''''''''''''''''''''''''''''''1''''''''''8'''''''''''">
              <a:rPr lang="en-GB" altLang="en-US" sz="900" b="0" smtClean="0">
                <a:solidFill>
                  <a:srgbClr val="ACAEB1"/>
                </a:solidFill>
                <a:latin typeface="Century Schoolbook (Body)"/>
              </a:rPr>
              <a:pPr/>
              <a:t>2018</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2C184540-1B91-E5E0-8D30-778AA2FF1786}"/>
              </a:ext>
            </a:extLst>
          </p:cNvPr>
          <p:cNvSpPr>
            <a:spLocks/>
          </p:cNvSpPr>
          <p:nvPr>
            <p:custDataLst>
              <p:tags r:id="rId22"/>
            </p:custDataLst>
          </p:nvPr>
        </p:nvSpPr>
        <p:spPr bwMode="auto">
          <a:xfrm>
            <a:off x="70024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E4A9BB7-F1FE-4756-800B-2C41EE3E6ED2}" type="datetime'''''''2''''''''''''01''''''''''''''''9'''''''">
              <a:rPr lang="en-GB" altLang="en-US" sz="900" b="0" smtClean="0">
                <a:solidFill>
                  <a:srgbClr val="ACAEB1"/>
                </a:solidFill>
                <a:latin typeface="Century Schoolbook (Body)"/>
              </a:rPr>
              <a:pPr/>
              <a:t>2019</a:t>
            </a:fld>
            <a:endParaRPr lang="en-GB" sz="900" b="0" dirty="0">
              <a:solidFill>
                <a:srgbClr val="ACAEB1"/>
              </a:solidFill>
              <a:latin typeface="Century Schoolbook (Body)"/>
              <a:sym typeface="Century Schoolbook (Body)"/>
            </a:endParaRPr>
          </a:p>
        </p:txBody>
      </p:sp>
      <p:sp>
        <p:nvSpPr>
          <p:cNvPr id="27" name="Text Placeholder 2">
            <a:extLst>
              <a:ext uri="{FF2B5EF4-FFF2-40B4-BE49-F238E27FC236}">
                <a16:creationId xmlns:a16="http://schemas.microsoft.com/office/drawing/2014/main" id="{53125B34-A4A7-8289-B38F-0DF5929E6B0A}"/>
              </a:ext>
            </a:extLst>
          </p:cNvPr>
          <p:cNvSpPr>
            <a:spLocks/>
          </p:cNvSpPr>
          <p:nvPr>
            <p:custDataLst>
              <p:tags r:id="rId23"/>
            </p:custDataLst>
          </p:nvPr>
        </p:nvSpPr>
        <p:spPr bwMode="auto">
          <a:xfrm>
            <a:off x="77136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4B838D7-8D38-4BBD-A9B8-DF0C22721BA2}" type="datetime'''''''''''''2''''''''''''0''''''2''''''''''''''''''''0'''''''">
              <a:rPr lang="en-GB" altLang="en-US" sz="900" b="0" smtClean="0">
                <a:solidFill>
                  <a:srgbClr val="ACAEB1"/>
                </a:solidFill>
                <a:latin typeface="Century Schoolbook (Body)"/>
              </a:rPr>
              <a:pPr/>
              <a:t>2020</a:t>
            </a:fld>
            <a:endParaRPr lang="en-GB" sz="900" b="0" dirty="0">
              <a:solidFill>
                <a:srgbClr val="ACAEB1"/>
              </a:solidFill>
              <a:latin typeface="Century Schoolbook (Body)"/>
              <a:sym typeface="Century Schoolbook (Body)"/>
            </a:endParaRPr>
          </a:p>
        </p:txBody>
      </p:sp>
      <p:sp>
        <p:nvSpPr>
          <p:cNvPr id="28" name="Text Placeholder 2">
            <a:extLst>
              <a:ext uri="{FF2B5EF4-FFF2-40B4-BE49-F238E27FC236}">
                <a16:creationId xmlns:a16="http://schemas.microsoft.com/office/drawing/2014/main" id="{B69A963E-320D-D4B1-5D3E-11985032B127}"/>
              </a:ext>
            </a:extLst>
          </p:cNvPr>
          <p:cNvSpPr>
            <a:spLocks/>
          </p:cNvSpPr>
          <p:nvPr>
            <p:custDataLst>
              <p:tags r:id="rId24"/>
            </p:custDataLst>
          </p:nvPr>
        </p:nvSpPr>
        <p:spPr bwMode="auto">
          <a:xfrm>
            <a:off x="842645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6A7047D-64A8-4396-A617-6F04A047EA7A}" type="datetime'''''''''2''''02''''1'''''''''''''''">
              <a:rPr lang="en-GB" altLang="en-US" sz="900" b="0" smtClean="0">
                <a:solidFill>
                  <a:srgbClr val="ACAEB1"/>
                </a:solidFill>
                <a:latin typeface="Century Schoolbook (Body)"/>
              </a:rPr>
              <a:pPr/>
              <a:t>2021</a:t>
            </a:fld>
            <a:endParaRPr lang="en-GB" sz="900" b="0" dirty="0">
              <a:solidFill>
                <a:srgbClr val="ACAEB1"/>
              </a:solidFill>
              <a:latin typeface="Century Schoolbook (Body)"/>
              <a:sym typeface="Century Schoolbook (Body)"/>
            </a:endParaRPr>
          </a:p>
        </p:txBody>
      </p:sp>
      <p:sp>
        <p:nvSpPr>
          <p:cNvPr id="29" name="Text Placeholder 2">
            <a:extLst>
              <a:ext uri="{FF2B5EF4-FFF2-40B4-BE49-F238E27FC236}">
                <a16:creationId xmlns:a16="http://schemas.microsoft.com/office/drawing/2014/main" id="{A2F123AE-339A-704F-95C5-633CD830D88B}"/>
              </a:ext>
            </a:extLst>
          </p:cNvPr>
          <p:cNvSpPr>
            <a:spLocks/>
          </p:cNvSpPr>
          <p:nvPr>
            <p:custDataLst>
              <p:tags r:id="rId25"/>
            </p:custDataLst>
          </p:nvPr>
        </p:nvSpPr>
        <p:spPr bwMode="auto">
          <a:xfrm>
            <a:off x="91392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C346DC-4E04-4BCB-A62B-DC9C8099A28F}" type="datetime'''''''2''''''''''''''''''''''''''''''0''''''''''''''22'''''">
              <a:rPr lang="en-GB" altLang="en-US" sz="900" b="0" smtClean="0">
                <a:solidFill>
                  <a:srgbClr val="ACAEB1"/>
                </a:solidFill>
                <a:latin typeface="Century Schoolbook (Body)"/>
              </a:rPr>
              <a:pPr/>
              <a:t>2022</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583504A0-9421-7E71-E70E-DE65823D0A51}"/>
              </a:ext>
            </a:extLst>
          </p:cNvPr>
          <p:cNvSpPr>
            <a:spLocks/>
          </p:cNvSpPr>
          <p:nvPr>
            <p:custDataLst>
              <p:tags r:id="rId26"/>
            </p:custDataLst>
          </p:nvPr>
        </p:nvSpPr>
        <p:spPr bwMode="auto">
          <a:xfrm>
            <a:off x="98520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8FCED6D-B820-46A3-9DBE-75FE13C7001F}" type="datetime'''''''20''''2''''''''''''''''''''''3'''">
              <a:rPr lang="en-GB" altLang="en-US" sz="900" b="0" smtClean="0">
                <a:solidFill>
                  <a:srgbClr val="ACAEB1"/>
                </a:solidFill>
                <a:latin typeface="Century Schoolbook (Body)"/>
              </a:rPr>
              <a:pPr/>
              <a:t>2023</a:t>
            </a:fld>
            <a:endParaRPr lang="en-GB" sz="900" b="0" dirty="0">
              <a:solidFill>
                <a:srgbClr val="ACAEB1"/>
              </a:solidFill>
              <a:latin typeface="Century Schoolbook (Body)"/>
              <a:sym typeface="Century Schoolbook (Body)"/>
            </a:endParaRPr>
          </a:p>
        </p:txBody>
      </p:sp>
      <p:sp>
        <p:nvSpPr>
          <p:cNvPr id="31" name="Text Placeholder 2">
            <a:extLst>
              <a:ext uri="{FF2B5EF4-FFF2-40B4-BE49-F238E27FC236}">
                <a16:creationId xmlns:a16="http://schemas.microsoft.com/office/drawing/2014/main" id="{DF36ADAC-DA46-B91B-EF7D-EAAA1C6A66FE}"/>
              </a:ext>
            </a:extLst>
          </p:cNvPr>
          <p:cNvSpPr>
            <a:spLocks/>
          </p:cNvSpPr>
          <p:nvPr>
            <p:custDataLst>
              <p:tags r:id="rId27"/>
            </p:custDataLst>
          </p:nvPr>
        </p:nvSpPr>
        <p:spPr bwMode="auto">
          <a:xfrm>
            <a:off x="105632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1EC4BB8-A21C-4CF7-97F6-33E6A1F44AF5}" type="datetime'2''''0''''''''''''''''''''''''''2''''''''''''''''4'''''''">
              <a:rPr lang="en-GB" altLang="en-US" sz="900" b="0" smtClean="0">
                <a:solidFill>
                  <a:srgbClr val="ACAEB1"/>
                </a:solidFill>
                <a:latin typeface="Century Schoolbook (Body)"/>
              </a:rPr>
              <a:pPr/>
              <a:t>2024</a:t>
            </a:fld>
            <a:endParaRPr lang="en-GB" sz="900" b="0" dirty="0">
              <a:solidFill>
                <a:srgbClr val="ACAEB1"/>
              </a:solidFill>
              <a:latin typeface="Century Schoolbook (Body)"/>
              <a:sym typeface="Century Schoolbook (Body)"/>
            </a:endParaRPr>
          </a:p>
        </p:txBody>
      </p:sp>
      <p:sp useBgFill="1">
        <p:nvSpPr>
          <p:cNvPr id="35" name="Text Placeholder 2">
            <a:extLst>
              <a:ext uri="{FF2B5EF4-FFF2-40B4-BE49-F238E27FC236}">
                <a16:creationId xmlns:a16="http://schemas.microsoft.com/office/drawing/2014/main" id="{0B525AE0-6313-FBD7-6E75-85323F9211F1}"/>
              </a:ext>
            </a:extLst>
          </p:cNvPr>
          <p:cNvSpPr>
            <a:spLocks/>
          </p:cNvSpPr>
          <p:nvPr>
            <p:custDataLst>
              <p:tags r:id="rId28"/>
            </p:custDataLst>
          </p:nvPr>
        </p:nvSpPr>
        <p:spPr bwMode="gray">
          <a:xfrm>
            <a:off x="2033588" y="4806951"/>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DA9A76A3-3157-4F08-8AB1-8B67D5F3DF22}" type="datetime'''''''''''''''''''''''1''''''''''''''''''''''''''8''''''''2'">
              <a:rPr lang="en-GB" altLang="en-US" sz="900" b="0" smtClean="0">
                <a:solidFill>
                  <a:srgbClr val="ACAEB1"/>
                </a:solidFill>
                <a:effectLst/>
                <a:latin typeface="Century Schoolbook (Body)"/>
                <a:sym typeface="Century Schoolbook (Body)"/>
              </a:rPr>
              <a:pPr lvl="0" algn="ctr">
                <a:spcBef>
                  <a:spcPct val="0"/>
                </a:spcBef>
                <a:spcAft>
                  <a:spcPct val="0"/>
                </a:spcAft>
              </a:pPr>
              <a:t>182</a:t>
            </a:fld>
            <a:endParaRPr lang="en-GB" sz="900" b="0" dirty="0">
              <a:solidFill>
                <a:srgbClr val="ACAEB1"/>
              </a:solidFill>
              <a:latin typeface="Century Schoolbook (Body)"/>
              <a:sym typeface="Century Schoolbook (Body)"/>
            </a:endParaRPr>
          </a:p>
        </p:txBody>
      </p:sp>
      <p:sp useBgFill="1">
        <p:nvSpPr>
          <p:cNvPr id="36" name="Text Placeholder 2">
            <a:extLst>
              <a:ext uri="{FF2B5EF4-FFF2-40B4-BE49-F238E27FC236}">
                <a16:creationId xmlns:a16="http://schemas.microsoft.com/office/drawing/2014/main" id="{7F1F1D0F-AFC8-4C5E-8303-6A066B0F6E15}"/>
              </a:ext>
            </a:extLst>
          </p:cNvPr>
          <p:cNvSpPr>
            <a:spLocks/>
          </p:cNvSpPr>
          <p:nvPr>
            <p:custDataLst>
              <p:tags r:id="rId29"/>
            </p:custDataLst>
          </p:nvPr>
        </p:nvSpPr>
        <p:spPr bwMode="gray">
          <a:xfrm>
            <a:off x="3459163" y="4446589"/>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E2B520A-AC31-4DD2-93AF-2E1BAC57A016}" type="datetime'''''''2''''''''''''''''''''''''''''''''''''''''''''72'''''''">
              <a:rPr lang="en-GB" altLang="en-US" sz="900" b="0" smtClean="0">
                <a:solidFill>
                  <a:srgbClr val="ACAEB1"/>
                </a:solidFill>
                <a:effectLst/>
                <a:latin typeface="Century Schoolbook (Body)"/>
                <a:sym typeface="Century Schoolbook (Body)"/>
              </a:rPr>
              <a:pPr lvl="0" algn="ctr">
                <a:spcBef>
                  <a:spcPct val="0"/>
                </a:spcBef>
                <a:spcAft>
                  <a:spcPct val="0"/>
                </a:spcAft>
              </a:pPr>
              <a:t>272</a:t>
            </a:fld>
            <a:endParaRPr lang="en-GB" sz="900" b="0" dirty="0">
              <a:solidFill>
                <a:srgbClr val="ACAEB1"/>
              </a:solidFill>
              <a:latin typeface="Century Schoolbook (Body)"/>
              <a:sym typeface="Century Schoolbook (Body)"/>
            </a:endParaRPr>
          </a:p>
        </p:txBody>
      </p:sp>
      <p:sp useBgFill="1">
        <p:nvSpPr>
          <p:cNvPr id="37" name="Text Placeholder 2">
            <a:extLst>
              <a:ext uri="{FF2B5EF4-FFF2-40B4-BE49-F238E27FC236}">
                <a16:creationId xmlns:a16="http://schemas.microsoft.com/office/drawing/2014/main" id="{1031FF93-5A7C-A04A-CD28-BADDC50DA9BA}"/>
              </a:ext>
            </a:extLst>
          </p:cNvPr>
          <p:cNvSpPr>
            <a:spLocks/>
          </p:cNvSpPr>
          <p:nvPr>
            <p:custDataLst>
              <p:tags r:id="rId30"/>
            </p:custDataLst>
          </p:nvPr>
        </p:nvSpPr>
        <p:spPr bwMode="gray">
          <a:xfrm>
            <a:off x="8445500" y="3227389"/>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BD2A7DB-59C0-4C1A-89DB-9EB776EABD62}" type="datetime'''''5''''''''''''''''7''''''''''''''''''''''7'''''''''''''''">
              <a:rPr lang="en-GB" altLang="en-US" sz="900" b="0" smtClean="0">
                <a:solidFill>
                  <a:srgbClr val="ACAEB1"/>
                </a:solidFill>
                <a:effectLst/>
                <a:latin typeface="Century Schoolbook (Body)"/>
                <a:sym typeface="Century Schoolbook (Body)"/>
              </a:rPr>
              <a:pPr lvl="0" algn="ctr">
                <a:spcBef>
                  <a:spcPct val="0"/>
                </a:spcBef>
                <a:spcAft>
                  <a:spcPct val="0"/>
                </a:spcAft>
              </a:pPr>
              <a:t>577</a:t>
            </a:fld>
            <a:endParaRPr lang="en-GB" sz="900" b="0" dirty="0">
              <a:solidFill>
                <a:srgbClr val="ACAEB1"/>
              </a:solidFill>
              <a:latin typeface="Century Schoolbook (Body)"/>
              <a:sym typeface="Century Schoolbook (Body)"/>
            </a:endParaRPr>
          </a:p>
        </p:txBody>
      </p:sp>
      <p:sp>
        <p:nvSpPr>
          <p:cNvPr id="6" name="Text Placeholder 2">
            <a:extLst>
              <a:ext uri="{FF2B5EF4-FFF2-40B4-BE49-F238E27FC236}">
                <a16:creationId xmlns:a16="http://schemas.microsoft.com/office/drawing/2014/main" id="{FC924619-5B57-2B6D-AF07-DCAECA303337}"/>
              </a:ext>
            </a:extLst>
          </p:cNvPr>
          <p:cNvSpPr>
            <a:spLocks/>
          </p:cNvSpPr>
          <p:nvPr>
            <p:custDataLst>
              <p:tags r:id="rId31"/>
            </p:custDataLst>
          </p:nvPr>
        </p:nvSpPr>
        <p:spPr bwMode="auto">
          <a:xfrm>
            <a:off x="112760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E945E3A-26C9-408D-9DE0-EBE090AE259F}" type="datetime'''''2''''''0''''2''5'''">
              <a:rPr lang="en-GB" altLang="en-US" sz="900" b="0" smtClean="0">
                <a:solidFill>
                  <a:srgbClr val="ACAEB1"/>
                </a:solidFill>
                <a:latin typeface="Century Schoolbook (Body)"/>
              </a:rPr>
              <a:pPr/>
              <a:t>2025</a:t>
            </a:fld>
            <a:endParaRPr lang="en-GB" sz="900" b="0" dirty="0">
              <a:solidFill>
                <a:srgbClr val="ACAEB1"/>
              </a:solidFill>
              <a:latin typeface="Century Schoolbook (Body)"/>
              <a:sym typeface="Century Schoolbook (Body)"/>
            </a:endParaRPr>
          </a:p>
        </p:txBody>
      </p:sp>
      <p:sp useBgFill="1">
        <p:nvSpPr>
          <p:cNvPr id="11" name="Text Placeholder 2">
            <a:extLst>
              <a:ext uri="{FF2B5EF4-FFF2-40B4-BE49-F238E27FC236}">
                <a16:creationId xmlns:a16="http://schemas.microsoft.com/office/drawing/2014/main" id="{A8C249AA-17EF-2BE5-9CCC-75E50FD3B6D9}"/>
              </a:ext>
            </a:extLst>
          </p:cNvPr>
          <p:cNvSpPr>
            <a:spLocks/>
          </p:cNvSpPr>
          <p:nvPr>
            <p:custDataLst>
              <p:tags r:id="rId32"/>
            </p:custDataLst>
          </p:nvPr>
        </p:nvSpPr>
        <p:spPr bwMode="gray">
          <a:xfrm>
            <a:off x="11295063" y="1679576"/>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90DC4CD-57E4-46A2-9622-E96F0F714C1F}" type="datetime'''''''''''''''''''''96''''4'''''''''''''''">
              <a:rPr lang="en-GB" altLang="en-US" sz="900" b="0" smtClean="0">
                <a:solidFill>
                  <a:srgbClr val="ACAEB1"/>
                </a:solidFill>
                <a:effectLst/>
                <a:latin typeface="Century Schoolbook (Body)"/>
                <a:sym typeface="Century Schoolbook (Body)"/>
              </a:rPr>
              <a:pPr lvl="0" algn="ctr">
                <a:spcBef>
                  <a:spcPct val="0"/>
                </a:spcBef>
                <a:spcAft>
                  <a:spcPct val="0"/>
                </a:spcAft>
              </a:pPr>
              <a:t>964</a:t>
            </a:fld>
            <a:endParaRPr lang="en-GB" sz="900" b="0" dirty="0">
              <a:solidFill>
                <a:srgbClr val="ACAEB1"/>
              </a:solidFill>
              <a:latin typeface="Century Schoolbook (Body)"/>
              <a:sym typeface="Century Schoolbook (Body)"/>
            </a:endParaRPr>
          </a:p>
        </p:txBody>
      </p:sp>
    </p:spTree>
    <p:extLst>
      <p:ext uri="{BB962C8B-B14F-4D97-AF65-F5344CB8AC3E}">
        <p14:creationId xmlns:p14="http://schemas.microsoft.com/office/powerpoint/2010/main" val="1719139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B85D7-589D-6422-8994-66752AB1B7BE}"/>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183F6A-52BF-68AC-5DBC-8A697DA7CFFC}"/>
              </a:ext>
            </a:extLst>
          </p:cNvPr>
          <p:cNvGraphicFramePr>
            <a:graphicFrameLocks/>
          </p:cNvGraphicFramePr>
          <p:nvPr>
            <p:custDataLst>
              <p:tags r:id="rId1"/>
            </p:custDataLst>
            <p:extLst>
              <p:ext uri="{D42A27DB-BD31-4B8C-83A1-F6EECF244321}">
                <p14:modId xmlns:p14="http://schemas.microsoft.com/office/powerpoint/2010/main" val="224724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95" imgH="394" progId="TCLayout.ActiveDocument.1">
                  <p:embed/>
                </p:oleObj>
              </mc:Choice>
              <mc:Fallback>
                <p:oleObj name="think-cell Slide" r:id="rId30" imgW="395" imgH="394" progId="TCLayout.ActiveDocument.1">
                  <p:embed/>
                  <p:pic>
                    <p:nvPicPr>
                      <p:cNvPr id="4" name="Object 3" hidden="1">
                        <a:extLst>
                          <a:ext uri="{FF2B5EF4-FFF2-40B4-BE49-F238E27FC236}">
                            <a16:creationId xmlns:a16="http://schemas.microsoft.com/office/drawing/2014/main" id="{BB183F6A-52BF-68AC-5DBC-8A697DA7CFF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441D7C8A-2DFF-D54D-3334-C53F06500129}"/>
              </a:ext>
            </a:extLst>
          </p:cNvPr>
          <p:cNvSpPr>
            <a:spLocks noGrp="1"/>
          </p:cNvSpPr>
          <p:nvPr>
            <p:ph type="title"/>
          </p:nvPr>
        </p:nvSpPr>
        <p:spPr>
          <a:xfrm>
            <a:off x="438150" y="408720"/>
            <a:ext cx="11328400" cy="610455"/>
          </a:xfrm>
        </p:spPr>
        <p:txBody>
          <a:bodyPr vert="horz"/>
          <a:lstStyle/>
          <a:p>
            <a:r>
              <a:rPr lang="en-GB" sz="2200"/>
              <a:t>UK Digital Out of Home Revenue as a % Share of Total Out of Home Revenue</a:t>
            </a:r>
            <a:endParaRPr lang="en-US"/>
          </a:p>
        </p:txBody>
      </p:sp>
      <p:sp>
        <p:nvSpPr>
          <p:cNvPr id="5" name="Title 1">
            <a:extLst>
              <a:ext uri="{FF2B5EF4-FFF2-40B4-BE49-F238E27FC236}">
                <a16:creationId xmlns:a16="http://schemas.microsoft.com/office/drawing/2014/main" id="{CC03BD40-E1CE-6AE4-A11F-39E49B9198D4}"/>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E0AFA1B5-CE8D-31BB-8035-5A1C742AB3B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2"/>
              </a:ext>
            </a:extLst>
          </a:blip>
          <a:stretch>
            <a:fillRect/>
          </a:stretch>
        </p:blipFill>
        <p:spPr>
          <a:xfrm>
            <a:off x="11161188" y="6279305"/>
            <a:ext cx="605362" cy="294658"/>
          </a:xfrm>
          <a:prstGeom prst="rect">
            <a:avLst/>
          </a:prstGeom>
        </p:spPr>
      </p:pic>
      <p:graphicFrame>
        <p:nvGraphicFramePr>
          <p:cNvPr id="35" name="Chart 34">
            <a:extLst>
              <a:ext uri="{FF2B5EF4-FFF2-40B4-BE49-F238E27FC236}">
                <a16:creationId xmlns:a16="http://schemas.microsoft.com/office/drawing/2014/main" id="{0EAE9FC2-412C-6AD5-C053-29CBCA0C6725}"/>
              </a:ext>
            </a:extLst>
          </p:cNvPr>
          <p:cNvGraphicFramePr/>
          <p:nvPr>
            <p:custDataLst>
              <p:tags r:id="rId2"/>
            </p:custDataLst>
            <p:extLst>
              <p:ext uri="{D42A27DB-BD31-4B8C-83A1-F6EECF244321}">
                <p14:modId xmlns:p14="http://schemas.microsoft.com/office/powerpoint/2010/main" val="236570920"/>
              </p:ext>
            </p:extLst>
          </p:nvPr>
        </p:nvGraphicFramePr>
        <p:xfrm>
          <a:off x="998538" y="1492250"/>
          <a:ext cx="10850562" cy="4408488"/>
        </p:xfrm>
        <a:graphic>
          <a:graphicData uri="http://schemas.openxmlformats.org/drawingml/2006/chart">
            <c:chart xmlns:c="http://schemas.openxmlformats.org/drawingml/2006/chart" xmlns:r="http://schemas.openxmlformats.org/officeDocument/2006/relationships" r:id="rId33"/>
          </a:graphicData>
        </a:graphic>
      </p:graphicFrame>
      <p:sp>
        <p:nvSpPr>
          <p:cNvPr id="58" name="Text Placeholder 2">
            <a:extLst>
              <a:ext uri="{FF2B5EF4-FFF2-40B4-BE49-F238E27FC236}">
                <a16:creationId xmlns:a16="http://schemas.microsoft.com/office/drawing/2014/main" id="{2020BC9B-B389-988C-7EE3-8340A227324B}"/>
              </a:ext>
            </a:extLst>
          </p:cNvPr>
          <p:cNvSpPr>
            <a:spLocks/>
          </p:cNvSpPr>
          <p:nvPr>
            <p:custDataLst>
              <p:tags r:id="rId3"/>
            </p:custDataLst>
          </p:nvPr>
        </p:nvSpPr>
        <p:spPr bwMode="gray">
          <a:xfrm>
            <a:off x="808038" y="5627689"/>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93D3D41D-934D-463F-954F-B02CF1E1B438}" type="datetime'0'''''''''''''''''">
              <a:rPr lang="en-GB" altLang="en-US" sz="900" b="0" smtClean="0">
                <a:solidFill>
                  <a:srgbClr val="ACAEB1"/>
                </a:solidFill>
                <a:effectLst/>
                <a:latin typeface="Century Schoolbook (Body)"/>
                <a:sym typeface="Century Schoolbook (Body)"/>
              </a:rPr>
              <a:pPr lvl="0" algn="r">
                <a:spcBef>
                  <a:spcPct val="0"/>
                </a:spcBef>
                <a:spcAft>
                  <a:spcPct val="0"/>
                </a:spcAft>
              </a:pPr>
              <a:t>0</a:t>
            </a:fld>
            <a:r>
              <a:rPr lang="en-GB" altLang="en-US" sz="900" b="0" dirty="0">
                <a:solidFill>
                  <a:srgbClr val="ACAEB1"/>
                </a:solidFill>
                <a:effectLst/>
                <a:latin typeface="Century Schoolbook (Body)"/>
                <a:sym typeface="Century Schoolbook (Body)"/>
              </a:rPr>
              <a:t>%</a:t>
            </a:r>
            <a:endParaRPr lang="en-GB" sz="900" b="0" dirty="0">
              <a:solidFill>
                <a:srgbClr val="ACAEB1"/>
              </a:solidFill>
              <a:latin typeface="Century Schoolbook (Body)"/>
              <a:sym typeface="Century Schoolbook (Body)"/>
            </a:endParaRPr>
          </a:p>
        </p:txBody>
      </p:sp>
      <p:sp>
        <p:nvSpPr>
          <p:cNvPr id="59" name="Text Placeholder 2">
            <a:extLst>
              <a:ext uri="{FF2B5EF4-FFF2-40B4-BE49-F238E27FC236}">
                <a16:creationId xmlns:a16="http://schemas.microsoft.com/office/drawing/2014/main" id="{2E94E61A-80D5-DCCF-7835-2E7D6EC51A59}"/>
              </a:ext>
            </a:extLst>
          </p:cNvPr>
          <p:cNvSpPr>
            <a:spLocks/>
          </p:cNvSpPr>
          <p:nvPr>
            <p:custDataLst>
              <p:tags r:id="rId4"/>
            </p:custDataLst>
          </p:nvPr>
        </p:nvSpPr>
        <p:spPr bwMode="gray">
          <a:xfrm>
            <a:off x="744538" y="505618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5CECADF1-E895-4031-B9E8-60BF45D048F2}" type="datetime'1''''''''''0'''''''''''''''''''''''''''''''">
              <a:rPr lang="en-GB" altLang="en-US" sz="900" b="0" smtClean="0">
                <a:solidFill>
                  <a:srgbClr val="ACAEB1"/>
                </a:solidFill>
                <a:effectLst/>
                <a:latin typeface="Century Schoolbook (Body)"/>
              </a:rPr>
              <a:pPr lvl="0" algn="r">
                <a:spcBef>
                  <a:spcPct val="0"/>
                </a:spcBef>
                <a:spcAft>
                  <a:spcPct val="0"/>
                </a:spcAft>
              </a:pPr>
              <a:t>1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60" name="Text Placeholder 2">
            <a:extLst>
              <a:ext uri="{FF2B5EF4-FFF2-40B4-BE49-F238E27FC236}">
                <a16:creationId xmlns:a16="http://schemas.microsoft.com/office/drawing/2014/main" id="{4F6C71C8-70C3-8132-8D6F-76E67C9D8DD3}"/>
              </a:ext>
            </a:extLst>
          </p:cNvPr>
          <p:cNvSpPr>
            <a:spLocks/>
          </p:cNvSpPr>
          <p:nvPr>
            <p:custDataLst>
              <p:tags r:id="rId5"/>
            </p:custDataLst>
          </p:nvPr>
        </p:nvSpPr>
        <p:spPr bwMode="gray">
          <a:xfrm>
            <a:off x="744538" y="448468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4ECAB65B-E779-4D75-AED4-CB2B5ECA60BB}" type="datetime'''2''''''''''''0'''''''''">
              <a:rPr lang="en-GB" altLang="en-US" sz="900" b="0" smtClean="0">
                <a:solidFill>
                  <a:srgbClr val="ACAEB1"/>
                </a:solidFill>
                <a:effectLst/>
                <a:latin typeface="Century Schoolbook (Body)"/>
              </a:rPr>
              <a:pPr lvl="0" algn="r">
                <a:spcBef>
                  <a:spcPct val="0"/>
                </a:spcBef>
                <a:spcAft>
                  <a:spcPct val="0"/>
                </a:spcAft>
              </a:pPr>
              <a:t>2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61" name="Text Placeholder 2">
            <a:extLst>
              <a:ext uri="{FF2B5EF4-FFF2-40B4-BE49-F238E27FC236}">
                <a16:creationId xmlns:a16="http://schemas.microsoft.com/office/drawing/2014/main" id="{CFB97BD3-23DE-4D8A-D976-79CD0C6BCA33}"/>
              </a:ext>
            </a:extLst>
          </p:cNvPr>
          <p:cNvSpPr>
            <a:spLocks/>
          </p:cNvSpPr>
          <p:nvPr>
            <p:custDataLst>
              <p:tags r:id="rId6"/>
            </p:custDataLst>
          </p:nvPr>
        </p:nvSpPr>
        <p:spPr bwMode="gray">
          <a:xfrm>
            <a:off x="744538" y="3913189"/>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52849331-DFAC-4928-AC5D-282E92C0C2A7}" type="datetime'''''3''''''0'''''''''''''''''''''''''''''''''''''''''''''">
              <a:rPr lang="en-GB" altLang="en-US" sz="900" b="0" smtClean="0">
                <a:solidFill>
                  <a:srgbClr val="ACAEB1"/>
                </a:solidFill>
                <a:effectLst/>
                <a:latin typeface="Century Schoolbook (Body)"/>
              </a:rPr>
              <a:pPr lvl="0" algn="r">
                <a:spcBef>
                  <a:spcPct val="0"/>
                </a:spcBef>
                <a:spcAft>
                  <a:spcPct val="0"/>
                </a:spcAft>
              </a:pPr>
              <a:t>3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62" name="Text Placeholder 2">
            <a:extLst>
              <a:ext uri="{FF2B5EF4-FFF2-40B4-BE49-F238E27FC236}">
                <a16:creationId xmlns:a16="http://schemas.microsoft.com/office/drawing/2014/main" id="{5D4BB978-9199-8E3E-1087-E2C194B84CC5}"/>
              </a:ext>
            </a:extLst>
          </p:cNvPr>
          <p:cNvSpPr>
            <a:spLocks/>
          </p:cNvSpPr>
          <p:nvPr>
            <p:custDataLst>
              <p:tags r:id="rId7"/>
            </p:custDataLst>
          </p:nvPr>
        </p:nvSpPr>
        <p:spPr bwMode="gray">
          <a:xfrm>
            <a:off x="744538" y="33432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6FB41B65-ECC6-471E-BAEA-08CDC1CC7DE0}" type="datetime'''''''''''''''4''''''''''0'''''''''''''''">
              <a:rPr lang="en-GB" altLang="en-US" sz="900" b="0" smtClean="0">
                <a:solidFill>
                  <a:srgbClr val="ACAEB1"/>
                </a:solidFill>
                <a:effectLst/>
                <a:latin typeface="Century Schoolbook (Body)"/>
              </a:rPr>
              <a:pPr lvl="0" algn="r">
                <a:spcBef>
                  <a:spcPct val="0"/>
                </a:spcBef>
                <a:spcAft>
                  <a:spcPct val="0"/>
                </a:spcAft>
              </a:pPr>
              <a:t>4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63" name="Text Placeholder 2">
            <a:extLst>
              <a:ext uri="{FF2B5EF4-FFF2-40B4-BE49-F238E27FC236}">
                <a16:creationId xmlns:a16="http://schemas.microsoft.com/office/drawing/2014/main" id="{3070C2C7-BBA6-4B58-0FCF-73670962962A}"/>
              </a:ext>
            </a:extLst>
          </p:cNvPr>
          <p:cNvSpPr>
            <a:spLocks/>
          </p:cNvSpPr>
          <p:nvPr>
            <p:custDataLst>
              <p:tags r:id="rId8"/>
            </p:custDataLst>
          </p:nvPr>
        </p:nvSpPr>
        <p:spPr bwMode="gray">
          <a:xfrm>
            <a:off x="744538" y="27717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AB5EE8FA-3D84-4595-80B5-F004014AF960}" type="datetime'''''''''''''''''5''''''''''0'''''''''''''''">
              <a:rPr lang="en-GB" altLang="en-US" sz="900" b="0" smtClean="0">
                <a:solidFill>
                  <a:srgbClr val="ACAEB1"/>
                </a:solidFill>
                <a:effectLst/>
                <a:latin typeface="Century Schoolbook (Body)"/>
              </a:rPr>
              <a:pPr lvl="0" algn="r">
                <a:spcBef>
                  <a:spcPct val="0"/>
                </a:spcBef>
                <a:spcAft>
                  <a:spcPct val="0"/>
                </a:spcAft>
              </a:pPr>
              <a:t>5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64" name="Text Placeholder 2">
            <a:extLst>
              <a:ext uri="{FF2B5EF4-FFF2-40B4-BE49-F238E27FC236}">
                <a16:creationId xmlns:a16="http://schemas.microsoft.com/office/drawing/2014/main" id="{5D6CB59E-34AB-99D2-75D8-487C748E7BC9}"/>
              </a:ext>
            </a:extLst>
          </p:cNvPr>
          <p:cNvSpPr>
            <a:spLocks/>
          </p:cNvSpPr>
          <p:nvPr>
            <p:custDataLst>
              <p:tags r:id="rId9"/>
            </p:custDataLst>
          </p:nvPr>
        </p:nvSpPr>
        <p:spPr bwMode="gray">
          <a:xfrm>
            <a:off x="744538" y="22002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BE4D4181-210B-419E-8760-D64286B98C62}" type="datetime'''''''''''''''6''''''''''''''''''''''''''''''''0'''">
              <a:rPr lang="en-GB" altLang="en-US" sz="900" b="0" smtClean="0">
                <a:solidFill>
                  <a:srgbClr val="ACAEB1"/>
                </a:solidFill>
                <a:effectLst/>
                <a:latin typeface="Century Schoolbook (Body)"/>
              </a:rPr>
              <a:pPr lvl="0" algn="r">
                <a:spcBef>
                  <a:spcPct val="0"/>
                </a:spcBef>
                <a:spcAft>
                  <a:spcPct val="0"/>
                </a:spcAft>
              </a:pPr>
              <a:t>6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65" name="Text Placeholder 2">
            <a:extLst>
              <a:ext uri="{FF2B5EF4-FFF2-40B4-BE49-F238E27FC236}">
                <a16:creationId xmlns:a16="http://schemas.microsoft.com/office/drawing/2014/main" id="{6136E10F-D5FA-1FA1-62E5-7872D7D59ECC}"/>
              </a:ext>
            </a:extLst>
          </p:cNvPr>
          <p:cNvSpPr>
            <a:spLocks/>
          </p:cNvSpPr>
          <p:nvPr>
            <p:custDataLst>
              <p:tags r:id="rId10"/>
            </p:custDataLst>
          </p:nvPr>
        </p:nvSpPr>
        <p:spPr bwMode="gray">
          <a:xfrm>
            <a:off x="744538" y="1628776"/>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D0917C3E-66E3-4349-B5AB-91785DC3BAC2}" type="datetime'7''''''''''''''''''''''''0'''''''''''''''''''''''">
              <a:rPr lang="en-GB" altLang="en-US" sz="900" b="0" smtClean="0">
                <a:solidFill>
                  <a:srgbClr val="ACAEB1"/>
                </a:solidFill>
                <a:effectLst/>
                <a:latin typeface="Century Schoolbook (Body)"/>
              </a:rPr>
              <a:pPr lvl="0" algn="r">
                <a:spcBef>
                  <a:spcPct val="0"/>
                </a:spcBef>
                <a:spcAft>
                  <a:spcPct val="0"/>
                </a:spcAft>
              </a:pPr>
              <a:t>70</a:t>
            </a:fld>
            <a:r>
              <a:rPr lang="en-GB" altLang="en-US" sz="900" b="0" dirty="0">
                <a:solidFill>
                  <a:srgbClr val="ACAEB1"/>
                </a:solidFill>
                <a:effectLst/>
                <a:latin typeface="Century Schoolbook (Body)"/>
              </a:rPr>
              <a:t>%</a:t>
            </a:r>
            <a:endParaRPr lang="en-GB" sz="900" b="0" dirty="0">
              <a:solidFill>
                <a:srgbClr val="ACAEB1"/>
              </a:solidFill>
              <a:latin typeface="Century Schoolbook (Body)"/>
            </a:endParaRPr>
          </a:p>
        </p:txBody>
      </p:sp>
      <p:sp>
        <p:nvSpPr>
          <p:cNvPr id="8" name="Text Placeholder 2">
            <a:extLst>
              <a:ext uri="{FF2B5EF4-FFF2-40B4-BE49-F238E27FC236}">
                <a16:creationId xmlns:a16="http://schemas.microsoft.com/office/drawing/2014/main" id="{5278059B-55FC-8C4B-7EFD-DFC6C35E4701}"/>
              </a:ext>
            </a:extLst>
          </p:cNvPr>
          <p:cNvSpPr>
            <a:spLocks/>
          </p:cNvSpPr>
          <p:nvPr>
            <p:custDataLst>
              <p:tags r:id="rId11"/>
            </p:custDataLst>
          </p:nvPr>
        </p:nvSpPr>
        <p:spPr bwMode="auto">
          <a:xfrm>
            <a:off x="13033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EF611C-A07F-4D9C-A239-DB28F813C6AD}" type="datetime'''20''''''''''1''''''''''''''''''''''''''1'''''''">
              <a:rPr lang="en-GB" altLang="en-US" sz="900" b="0" smtClean="0">
                <a:solidFill>
                  <a:srgbClr val="ACAEB1"/>
                </a:solidFill>
                <a:latin typeface="Century Schoolbook (Body)"/>
              </a:rPr>
              <a:pPr/>
              <a:t>2011</a:t>
            </a:fld>
            <a:endParaRPr lang="en-GB" sz="900" b="0" dirty="0">
              <a:solidFill>
                <a:srgbClr val="ACAEB1"/>
              </a:solidFill>
              <a:latin typeface="Century Schoolbook (Body)"/>
              <a:sym typeface="Century Schoolbook (Body)"/>
            </a:endParaRPr>
          </a:p>
        </p:txBody>
      </p:sp>
      <p:sp>
        <p:nvSpPr>
          <p:cNvPr id="9" name="Text Placeholder 2">
            <a:extLst>
              <a:ext uri="{FF2B5EF4-FFF2-40B4-BE49-F238E27FC236}">
                <a16:creationId xmlns:a16="http://schemas.microsoft.com/office/drawing/2014/main" id="{9366DEF8-2478-B4BA-4D52-B976E79B8DFB}"/>
              </a:ext>
            </a:extLst>
          </p:cNvPr>
          <p:cNvSpPr>
            <a:spLocks/>
          </p:cNvSpPr>
          <p:nvPr>
            <p:custDataLst>
              <p:tags r:id="rId12"/>
            </p:custDataLst>
          </p:nvPr>
        </p:nvSpPr>
        <p:spPr bwMode="auto">
          <a:xfrm>
            <a:off x="20145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E5F40CC-1D16-467B-B3FA-C9CA09AF1263}" type="datetime'''2''0''''''''''''''''1''''2'''''''''''''''''''''''">
              <a:rPr lang="en-GB" altLang="en-US" sz="900" b="0" smtClean="0">
                <a:solidFill>
                  <a:srgbClr val="ACAEB1"/>
                </a:solidFill>
                <a:latin typeface="Century Schoolbook (Body)"/>
              </a:rPr>
              <a:pPr/>
              <a:t>2012</a:t>
            </a:fld>
            <a:endParaRPr lang="en-GB" sz="900" b="0" dirty="0">
              <a:solidFill>
                <a:srgbClr val="ACAEB1"/>
              </a:solidFill>
              <a:latin typeface="Century Schoolbook (Body)"/>
              <a:sym typeface="Century Schoolbook (Body)"/>
            </a:endParaRPr>
          </a:p>
        </p:txBody>
      </p:sp>
      <p:sp>
        <p:nvSpPr>
          <p:cNvPr id="10" name="Text Placeholder 2">
            <a:extLst>
              <a:ext uri="{FF2B5EF4-FFF2-40B4-BE49-F238E27FC236}">
                <a16:creationId xmlns:a16="http://schemas.microsoft.com/office/drawing/2014/main" id="{2C1433E4-48CF-C553-9D2C-7ED5C2BF70A3}"/>
              </a:ext>
            </a:extLst>
          </p:cNvPr>
          <p:cNvSpPr>
            <a:spLocks/>
          </p:cNvSpPr>
          <p:nvPr>
            <p:custDataLst>
              <p:tags r:id="rId13"/>
            </p:custDataLst>
          </p:nvPr>
        </p:nvSpPr>
        <p:spPr bwMode="auto">
          <a:xfrm>
            <a:off x="27273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399E1C3-18B0-454B-A22F-A8E868AFDF36}" type="datetime'''201''3'''''''''''''''''''''''''''''''''''''''''''''''''''''">
              <a:rPr lang="en-GB" altLang="en-US" sz="900" b="0" smtClean="0">
                <a:solidFill>
                  <a:srgbClr val="ACAEB1"/>
                </a:solidFill>
                <a:latin typeface="Century Schoolbook (Body)"/>
              </a:rPr>
              <a:pPr/>
              <a:t>2013</a:t>
            </a:fld>
            <a:endParaRPr lang="en-GB" sz="900" b="0" dirty="0">
              <a:solidFill>
                <a:srgbClr val="ACAEB1"/>
              </a:solidFill>
              <a:latin typeface="Century Schoolbook (Body)"/>
              <a:sym typeface="Century Schoolbook (Body)"/>
            </a:endParaRPr>
          </a:p>
        </p:txBody>
      </p:sp>
      <p:sp>
        <p:nvSpPr>
          <p:cNvPr id="21" name="Text Placeholder 2">
            <a:extLst>
              <a:ext uri="{FF2B5EF4-FFF2-40B4-BE49-F238E27FC236}">
                <a16:creationId xmlns:a16="http://schemas.microsoft.com/office/drawing/2014/main" id="{35830282-460E-13B0-4102-AF4771B6E1E8}"/>
              </a:ext>
            </a:extLst>
          </p:cNvPr>
          <p:cNvSpPr>
            <a:spLocks/>
          </p:cNvSpPr>
          <p:nvPr>
            <p:custDataLst>
              <p:tags r:id="rId14"/>
            </p:custDataLst>
          </p:nvPr>
        </p:nvSpPr>
        <p:spPr bwMode="auto">
          <a:xfrm>
            <a:off x="34401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8B066F8-FE61-4D19-AFEB-D628D05AFE5E}" type="datetime'''''''''''''''''''''''''''20''''''''1''''''''''''4'''''">
              <a:rPr lang="en-GB" altLang="en-US" sz="900" b="0" smtClean="0">
                <a:solidFill>
                  <a:srgbClr val="ACAEB1"/>
                </a:solidFill>
                <a:latin typeface="Century Schoolbook (Body)"/>
              </a:rPr>
              <a:pPr/>
              <a:t>2014</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429355B5-58E3-08EE-6F4A-3DBCFD4B66F1}"/>
              </a:ext>
            </a:extLst>
          </p:cNvPr>
          <p:cNvSpPr>
            <a:spLocks/>
          </p:cNvSpPr>
          <p:nvPr>
            <p:custDataLst>
              <p:tags r:id="rId15"/>
            </p:custDataLst>
          </p:nvPr>
        </p:nvSpPr>
        <p:spPr bwMode="auto">
          <a:xfrm>
            <a:off x="41529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4A8C820-E305-46C9-8E83-4F081F246839}" type="datetime'''''''''''''''''''''2''''''''''''''''''''01''''''''''''''5'''">
              <a:rPr lang="en-GB" altLang="en-US" sz="900" b="0" smtClean="0">
                <a:solidFill>
                  <a:srgbClr val="ACAEB1"/>
                </a:solidFill>
                <a:latin typeface="Century Schoolbook (Body)"/>
              </a:rPr>
              <a:pPr/>
              <a:t>2015</a:t>
            </a:fld>
            <a:endParaRPr lang="en-GB" sz="900" b="0" dirty="0">
              <a:solidFill>
                <a:srgbClr val="ACAEB1"/>
              </a:solidFill>
              <a:latin typeface="Century Schoolbook (Body)"/>
              <a:sym typeface="Century Schoolbook (Body)"/>
            </a:endParaRPr>
          </a:p>
        </p:txBody>
      </p:sp>
      <p:sp>
        <p:nvSpPr>
          <p:cNvPr id="23" name="Text Placeholder 2">
            <a:extLst>
              <a:ext uri="{FF2B5EF4-FFF2-40B4-BE49-F238E27FC236}">
                <a16:creationId xmlns:a16="http://schemas.microsoft.com/office/drawing/2014/main" id="{A34DDE48-90D7-ACF9-3D4D-7FE4AE47D527}"/>
              </a:ext>
            </a:extLst>
          </p:cNvPr>
          <p:cNvSpPr>
            <a:spLocks/>
          </p:cNvSpPr>
          <p:nvPr>
            <p:custDataLst>
              <p:tags r:id="rId16"/>
            </p:custDataLst>
          </p:nvPr>
        </p:nvSpPr>
        <p:spPr bwMode="auto">
          <a:xfrm>
            <a:off x="48641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887F468-2BEE-4EC2-8C35-ABA6C1EDE211}" type="datetime'''''''''''''2''''0''''''''''''''''''''1''6'''''''">
              <a:rPr lang="en-GB" altLang="en-US" sz="900" b="0" smtClean="0">
                <a:solidFill>
                  <a:srgbClr val="ACAEB1"/>
                </a:solidFill>
                <a:latin typeface="Century Schoolbook (Body)"/>
              </a:rPr>
              <a:pPr/>
              <a:t>2016</a:t>
            </a:fld>
            <a:endParaRPr lang="en-GB" sz="900" b="0" dirty="0">
              <a:solidFill>
                <a:srgbClr val="ACAEB1"/>
              </a:solidFill>
              <a:latin typeface="Century Schoolbook (Body)"/>
              <a:sym typeface="Century Schoolbook (Body)"/>
            </a:endParaRPr>
          </a:p>
        </p:txBody>
      </p:sp>
      <p:sp>
        <p:nvSpPr>
          <p:cNvPr id="24" name="Text Placeholder 2">
            <a:extLst>
              <a:ext uri="{FF2B5EF4-FFF2-40B4-BE49-F238E27FC236}">
                <a16:creationId xmlns:a16="http://schemas.microsoft.com/office/drawing/2014/main" id="{7A801086-704F-C421-7121-F279908DF04F}"/>
              </a:ext>
            </a:extLst>
          </p:cNvPr>
          <p:cNvSpPr>
            <a:spLocks/>
          </p:cNvSpPr>
          <p:nvPr>
            <p:custDataLst>
              <p:tags r:id="rId17"/>
            </p:custDataLst>
          </p:nvPr>
        </p:nvSpPr>
        <p:spPr bwMode="auto">
          <a:xfrm>
            <a:off x="557688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9A3DA68-AFAF-440E-9240-D9743B0F8D9C}" type="datetime'''''''2''''''''''''''''''01''''''''''''''''''''''''7'''">
              <a:rPr lang="en-GB" altLang="en-US" sz="900" b="0" smtClean="0">
                <a:solidFill>
                  <a:srgbClr val="ACAEB1"/>
                </a:solidFill>
                <a:latin typeface="Century Schoolbook (Body)"/>
              </a:rPr>
              <a:pPr/>
              <a:t>2017</a:t>
            </a:fld>
            <a:endParaRPr lang="en-GB" sz="900" b="0" dirty="0">
              <a:solidFill>
                <a:srgbClr val="ACAEB1"/>
              </a:solidFill>
              <a:latin typeface="Century Schoolbook (Body)"/>
              <a:sym typeface="Century Schoolbook (Body)"/>
            </a:endParaRPr>
          </a:p>
        </p:txBody>
      </p:sp>
      <p:sp>
        <p:nvSpPr>
          <p:cNvPr id="25" name="Text Placeholder 2">
            <a:extLst>
              <a:ext uri="{FF2B5EF4-FFF2-40B4-BE49-F238E27FC236}">
                <a16:creationId xmlns:a16="http://schemas.microsoft.com/office/drawing/2014/main" id="{E9B80853-AB1A-0778-021B-CC52C08DF76C}"/>
              </a:ext>
            </a:extLst>
          </p:cNvPr>
          <p:cNvSpPr>
            <a:spLocks/>
          </p:cNvSpPr>
          <p:nvPr>
            <p:custDataLst>
              <p:tags r:id="rId18"/>
            </p:custDataLst>
          </p:nvPr>
        </p:nvSpPr>
        <p:spPr bwMode="auto">
          <a:xfrm>
            <a:off x="62896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B8DD0FC-FBD5-456B-9999-3E98FE336244}" type="datetime'''''2''0''''''''''''''''''''''''''''''1''''''''''8'''''''''''">
              <a:rPr lang="en-GB" altLang="en-US" sz="900" b="0" smtClean="0">
                <a:solidFill>
                  <a:srgbClr val="ACAEB1"/>
                </a:solidFill>
                <a:latin typeface="Century Schoolbook (Body)"/>
              </a:rPr>
              <a:pPr/>
              <a:t>2018</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53B4319F-B4C8-0A60-1AA9-B12C2B48C64D}"/>
              </a:ext>
            </a:extLst>
          </p:cNvPr>
          <p:cNvSpPr>
            <a:spLocks/>
          </p:cNvSpPr>
          <p:nvPr>
            <p:custDataLst>
              <p:tags r:id="rId19"/>
            </p:custDataLst>
          </p:nvPr>
        </p:nvSpPr>
        <p:spPr bwMode="auto">
          <a:xfrm>
            <a:off x="70024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E4A9BB7-F1FE-4756-800B-2C41EE3E6ED2}" type="datetime'''''''2''''''''''''01''''''''''''''''9'''''''">
              <a:rPr lang="en-GB" altLang="en-US" sz="900" b="0" smtClean="0">
                <a:solidFill>
                  <a:srgbClr val="ACAEB1"/>
                </a:solidFill>
                <a:latin typeface="Century Schoolbook (Body)"/>
              </a:rPr>
              <a:pPr/>
              <a:t>2019</a:t>
            </a:fld>
            <a:endParaRPr lang="en-GB" sz="900" b="0" dirty="0">
              <a:solidFill>
                <a:srgbClr val="ACAEB1"/>
              </a:solidFill>
              <a:latin typeface="Century Schoolbook (Body)"/>
              <a:sym typeface="Century Schoolbook (Body)"/>
            </a:endParaRPr>
          </a:p>
        </p:txBody>
      </p:sp>
      <p:sp>
        <p:nvSpPr>
          <p:cNvPr id="27" name="Text Placeholder 2">
            <a:extLst>
              <a:ext uri="{FF2B5EF4-FFF2-40B4-BE49-F238E27FC236}">
                <a16:creationId xmlns:a16="http://schemas.microsoft.com/office/drawing/2014/main" id="{3DF5A410-D55A-1E22-9407-5257DE4FF178}"/>
              </a:ext>
            </a:extLst>
          </p:cNvPr>
          <p:cNvSpPr>
            <a:spLocks/>
          </p:cNvSpPr>
          <p:nvPr>
            <p:custDataLst>
              <p:tags r:id="rId20"/>
            </p:custDataLst>
          </p:nvPr>
        </p:nvSpPr>
        <p:spPr bwMode="auto">
          <a:xfrm>
            <a:off x="77136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4B838D7-8D38-4BBD-A9B8-DF0C22721BA2}" type="datetime'''''''''''''2''''''''''''0''''''2''''''''''''''''''''0'''''''">
              <a:rPr lang="en-GB" altLang="en-US" sz="900" b="0" smtClean="0">
                <a:solidFill>
                  <a:srgbClr val="ACAEB1"/>
                </a:solidFill>
                <a:latin typeface="Century Schoolbook (Body)"/>
              </a:rPr>
              <a:pPr/>
              <a:t>2020</a:t>
            </a:fld>
            <a:endParaRPr lang="en-GB" sz="900" b="0" dirty="0">
              <a:solidFill>
                <a:srgbClr val="ACAEB1"/>
              </a:solidFill>
              <a:latin typeface="Century Schoolbook (Body)"/>
              <a:sym typeface="Century Schoolbook (Body)"/>
            </a:endParaRPr>
          </a:p>
        </p:txBody>
      </p:sp>
      <p:sp>
        <p:nvSpPr>
          <p:cNvPr id="28" name="Text Placeholder 2">
            <a:extLst>
              <a:ext uri="{FF2B5EF4-FFF2-40B4-BE49-F238E27FC236}">
                <a16:creationId xmlns:a16="http://schemas.microsoft.com/office/drawing/2014/main" id="{932D188B-7115-9202-E82A-3178DCAC8594}"/>
              </a:ext>
            </a:extLst>
          </p:cNvPr>
          <p:cNvSpPr>
            <a:spLocks/>
          </p:cNvSpPr>
          <p:nvPr>
            <p:custDataLst>
              <p:tags r:id="rId21"/>
            </p:custDataLst>
          </p:nvPr>
        </p:nvSpPr>
        <p:spPr bwMode="auto">
          <a:xfrm>
            <a:off x="842645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6A7047D-64A8-4396-A617-6F04A047EA7A}" type="datetime'''''''''2''''02''''1'''''''''''''''">
              <a:rPr lang="en-GB" altLang="en-US" sz="900" b="0" smtClean="0">
                <a:solidFill>
                  <a:srgbClr val="ACAEB1"/>
                </a:solidFill>
                <a:latin typeface="Century Schoolbook (Body)"/>
              </a:rPr>
              <a:pPr/>
              <a:t>2021</a:t>
            </a:fld>
            <a:endParaRPr lang="en-GB" sz="900" b="0" dirty="0">
              <a:solidFill>
                <a:srgbClr val="ACAEB1"/>
              </a:solidFill>
              <a:latin typeface="Century Schoolbook (Body)"/>
              <a:sym typeface="Century Schoolbook (Body)"/>
            </a:endParaRPr>
          </a:p>
        </p:txBody>
      </p:sp>
      <p:sp>
        <p:nvSpPr>
          <p:cNvPr id="29" name="Text Placeholder 2">
            <a:extLst>
              <a:ext uri="{FF2B5EF4-FFF2-40B4-BE49-F238E27FC236}">
                <a16:creationId xmlns:a16="http://schemas.microsoft.com/office/drawing/2014/main" id="{95DFEAE5-A083-BCCF-5992-D2C080EE65A9}"/>
              </a:ext>
            </a:extLst>
          </p:cNvPr>
          <p:cNvSpPr>
            <a:spLocks/>
          </p:cNvSpPr>
          <p:nvPr>
            <p:custDataLst>
              <p:tags r:id="rId22"/>
            </p:custDataLst>
          </p:nvPr>
        </p:nvSpPr>
        <p:spPr bwMode="auto">
          <a:xfrm>
            <a:off x="91392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C346DC-4E04-4BCB-A62B-DC9C8099A28F}" type="datetime'''''''2''''''''''''''''''''''''''''''0''''''''''''''22'''''">
              <a:rPr lang="en-GB" altLang="en-US" sz="900" b="0" smtClean="0">
                <a:solidFill>
                  <a:srgbClr val="ACAEB1"/>
                </a:solidFill>
                <a:latin typeface="Century Schoolbook (Body)"/>
              </a:rPr>
              <a:pPr/>
              <a:t>2022</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82C2075D-E2A2-0F87-794F-66D119CF543B}"/>
              </a:ext>
            </a:extLst>
          </p:cNvPr>
          <p:cNvSpPr>
            <a:spLocks/>
          </p:cNvSpPr>
          <p:nvPr>
            <p:custDataLst>
              <p:tags r:id="rId23"/>
            </p:custDataLst>
          </p:nvPr>
        </p:nvSpPr>
        <p:spPr bwMode="auto">
          <a:xfrm>
            <a:off x="98520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8FCED6D-B820-46A3-9DBE-75FE13C7001F}" type="datetime'''''''20''''2''''''''''''''''''''''3'''">
              <a:rPr lang="en-GB" altLang="en-US" sz="900" b="0" smtClean="0">
                <a:solidFill>
                  <a:srgbClr val="ACAEB1"/>
                </a:solidFill>
                <a:latin typeface="Century Schoolbook (Body)"/>
              </a:rPr>
              <a:pPr/>
              <a:t>2023</a:t>
            </a:fld>
            <a:endParaRPr lang="en-GB" sz="900" b="0" dirty="0">
              <a:solidFill>
                <a:srgbClr val="ACAEB1"/>
              </a:solidFill>
              <a:latin typeface="Century Schoolbook (Body)"/>
              <a:sym typeface="Century Schoolbook (Body)"/>
            </a:endParaRPr>
          </a:p>
        </p:txBody>
      </p:sp>
      <p:sp>
        <p:nvSpPr>
          <p:cNvPr id="31" name="Text Placeholder 2">
            <a:extLst>
              <a:ext uri="{FF2B5EF4-FFF2-40B4-BE49-F238E27FC236}">
                <a16:creationId xmlns:a16="http://schemas.microsoft.com/office/drawing/2014/main" id="{A0A6906A-39FA-D3D6-252E-914B8D62C1A0}"/>
              </a:ext>
            </a:extLst>
          </p:cNvPr>
          <p:cNvSpPr>
            <a:spLocks/>
          </p:cNvSpPr>
          <p:nvPr>
            <p:custDataLst>
              <p:tags r:id="rId24"/>
            </p:custDataLst>
          </p:nvPr>
        </p:nvSpPr>
        <p:spPr bwMode="auto">
          <a:xfrm>
            <a:off x="105632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1EC4BB8-A21C-4CF7-97F6-33E6A1F44AF5}" type="datetime'2''''0''''''''''''''''''''''''''2''''''''''''''''4'''''''">
              <a:rPr lang="en-GB" altLang="en-US" sz="900" b="0" smtClean="0">
                <a:solidFill>
                  <a:srgbClr val="ACAEB1"/>
                </a:solidFill>
                <a:latin typeface="Century Schoolbook (Body)"/>
              </a:rPr>
              <a:pPr/>
              <a:t>2024</a:t>
            </a:fld>
            <a:endParaRPr lang="en-GB" sz="900" b="0" dirty="0">
              <a:solidFill>
                <a:srgbClr val="ACAEB1"/>
              </a:solidFill>
              <a:latin typeface="Century Schoolbook (Body)"/>
              <a:sym typeface="Century Schoolbook (Body)"/>
            </a:endParaRPr>
          </a:p>
        </p:txBody>
      </p:sp>
      <p:sp useBgFill="1">
        <p:nvSpPr>
          <p:cNvPr id="54" name="Text Placeholder 2">
            <a:extLst>
              <a:ext uri="{FF2B5EF4-FFF2-40B4-BE49-F238E27FC236}">
                <a16:creationId xmlns:a16="http://schemas.microsoft.com/office/drawing/2014/main" id="{CDB3050B-4529-CE6F-B0F7-329E422FA411}"/>
              </a:ext>
            </a:extLst>
          </p:cNvPr>
          <p:cNvSpPr>
            <a:spLocks/>
          </p:cNvSpPr>
          <p:nvPr>
            <p:custDataLst>
              <p:tags r:id="rId25"/>
            </p:custDataLst>
          </p:nvPr>
        </p:nvSpPr>
        <p:spPr bwMode="gray">
          <a:xfrm>
            <a:off x="2017713" y="4462464"/>
            <a:ext cx="26035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7642D91-38C5-4752-A167-6167E27EF52B}" type="datetime'''''''''''''1''''''''''''''''''''''''''9''%'''''''''''''''">
              <a:rPr lang="en-GB" altLang="en-US" sz="900" b="0" smtClean="0">
                <a:solidFill>
                  <a:srgbClr val="ACAEB1"/>
                </a:solidFill>
                <a:effectLst/>
                <a:latin typeface="Century Schoolbook (Body)"/>
              </a:rPr>
              <a:pPr/>
              <a:t>19%</a:t>
            </a:fld>
            <a:endParaRPr lang="en-GB" sz="900" b="0" dirty="0">
              <a:solidFill>
                <a:srgbClr val="ACAEB1"/>
              </a:solidFill>
              <a:latin typeface="Century Schoolbook (Body)"/>
              <a:sym typeface="Century Schoolbook (Body)"/>
            </a:endParaRPr>
          </a:p>
        </p:txBody>
      </p:sp>
      <p:sp useBgFill="1">
        <p:nvSpPr>
          <p:cNvPr id="55" name="Text Placeholder 2">
            <a:extLst>
              <a:ext uri="{FF2B5EF4-FFF2-40B4-BE49-F238E27FC236}">
                <a16:creationId xmlns:a16="http://schemas.microsoft.com/office/drawing/2014/main" id="{FD10F805-AE17-3E08-A2D2-EAF9ABF3B013}"/>
              </a:ext>
            </a:extLst>
          </p:cNvPr>
          <p:cNvSpPr>
            <a:spLocks/>
          </p:cNvSpPr>
          <p:nvPr>
            <p:custDataLst>
              <p:tags r:id="rId26"/>
            </p:custDataLst>
          </p:nvPr>
        </p:nvSpPr>
        <p:spPr bwMode="gray">
          <a:xfrm>
            <a:off x="4867275" y="3367089"/>
            <a:ext cx="26035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71BB79F-7739-4905-AD53-3B7DFE5E36A9}" type="datetime'''''''''''''''''''3''''8''''''''''''''''''''''''''''%'''''''''">
              <a:rPr lang="en-GB" altLang="en-US" sz="900" b="0" smtClean="0">
                <a:solidFill>
                  <a:srgbClr val="ACAEB1"/>
                </a:solidFill>
                <a:effectLst/>
                <a:latin typeface="Century Schoolbook (Body)"/>
              </a:rPr>
              <a:pPr/>
              <a:t>38%</a:t>
            </a:fld>
            <a:endParaRPr lang="en-GB" sz="900" b="0" dirty="0">
              <a:solidFill>
                <a:srgbClr val="ACAEB1"/>
              </a:solidFill>
              <a:latin typeface="Century Schoolbook (Body)"/>
              <a:sym typeface="Century Schoolbook (Body)"/>
            </a:endParaRPr>
          </a:p>
        </p:txBody>
      </p:sp>
      <p:sp>
        <p:nvSpPr>
          <p:cNvPr id="11" name="Text Placeholder 2">
            <a:extLst>
              <a:ext uri="{FF2B5EF4-FFF2-40B4-BE49-F238E27FC236}">
                <a16:creationId xmlns:a16="http://schemas.microsoft.com/office/drawing/2014/main" id="{2D47BF1A-688C-C332-6A44-32A50A177B82}"/>
              </a:ext>
            </a:extLst>
          </p:cNvPr>
          <p:cNvSpPr>
            <a:spLocks/>
          </p:cNvSpPr>
          <p:nvPr>
            <p:custDataLst>
              <p:tags r:id="rId27"/>
            </p:custDataLst>
          </p:nvPr>
        </p:nvSpPr>
        <p:spPr bwMode="auto">
          <a:xfrm>
            <a:off x="112760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1506C4F-0BE3-43EA-B3EF-5512DB31E15B}" type="datetime'''''''''''2''''''02''''''''''''5'''''''''''''''''''''''''">
              <a:rPr lang="en-GB" altLang="en-US" sz="900" b="0" smtClean="0">
                <a:solidFill>
                  <a:srgbClr val="ACAEB1"/>
                </a:solidFill>
                <a:latin typeface="Century Schoolbook (Body)"/>
              </a:rPr>
              <a:pPr/>
              <a:t>2025</a:t>
            </a:fld>
            <a:endParaRPr lang="en-GB" sz="900" b="0" dirty="0">
              <a:solidFill>
                <a:srgbClr val="ACAEB1"/>
              </a:solidFill>
              <a:latin typeface="Century Schoolbook (Body)"/>
              <a:sym typeface="Century Schoolbook (Body)"/>
            </a:endParaRPr>
          </a:p>
        </p:txBody>
      </p:sp>
    </p:spTree>
    <p:extLst>
      <p:ext uri="{BB962C8B-B14F-4D97-AF65-F5344CB8AC3E}">
        <p14:creationId xmlns:p14="http://schemas.microsoft.com/office/powerpoint/2010/main" val="3908385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B9240-7B1D-32A0-2DB9-ACE951703B04}"/>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B8BC8B-DA05-F104-7445-6A9447CE336A}"/>
              </a:ext>
            </a:extLst>
          </p:cNvPr>
          <p:cNvGraphicFramePr>
            <a:graphicFrameLocks/>
          </p:cNvGraphicFramePr>
          <p:nvPr>
            <p:custDataLst>
              <p:tags r:id="rId1"/>
            </p:custDataLst>
            <p:extLst>
              <p:ext uri="{D42A27DB-BD31-4B8C-83A1-F6EECF244321}">
                <p14:modId xmlns:p14="http://schemas.microsoft.com/office/powerpoint/2010/main" val="300881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95" imgH="394" progId="TCLayout.ActiveDocument.1">
                  <p:embed/>
                </p:oleObj>
              </mc:Choice>
              <mc:Fallback>
                <p:oleObj name="think-cell Slide" r:id="rId44" imgW="395" imgH="394" progId="TCLayout.ActiveDocument.1">
                  <p:embed/>
                  <p:pic>
                    <p:nvPicPr>
                      <p:cNvPr id="4" name="Object 3" hidden="1">
                        <a:extLst>
                          <a:ext uri="{FF2B5EF4-FFF2-40B4-BE49-F238E27FC236}">
                            <a16:creationId xmlns:a16="http://schemas.microsoft.com/office/drawing/2014/main" id="{EDB8BC8B-DA05-F104-7445-6A9447CE336A}"/>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9D862941-6717-D4FB-3A43-8E34C191E210}"/>
              </a:ext>
            </a:extLst>
          </p:cNvPr>
          <p:cNvSpPr>
            <a:spLocks noGrp="1"/>
          </p:cNvSpPr>
          <p:nvPr>
            <p:ph type="title"/>
          </p:nvPr>
        </p:nvSpPr>
        <p:spPr>
          <a:xfrm>
            <a:off x="438150" y="408720"/>
            <a:ext cx="11328400" cy="610455"/>
          </a:xfrm>
        </p:spPr>
        <p:txBody>
          <a:bodyPr vert="horz"/>
          <a:lstStyle/>
          <a:p>
            <a:r>
              <a:rPr lang="en-GB" sz="2200"/>
              <a:t>UK Digital Out of Home Revenue by Quarter</a:t>
            </a:r>
            <a:endParaRPr lang="en-GB" sz="2200" b="0">
              <a:solidFill>
                <a:srgbClr val="000000"/>
              </a:solidFill>
            </a:endParaRPr>
          </a:p>
          <a:p>
            <a:endParaRPr lang="en-GB" altLang="en-US" sz="2200">
              <a:cs typeface="Arial"/>
            </a:endParaRPr>
          </a:p>
        </p:txBody>
      </p:sp>
      <p:sp>
        <p:nvSpPr>
          <p:cNvPr id="5" name="Title 1">
            <a:extLst>
              <a:ext uri="{FF2B5EF4-FFF2-40B4-BE49-F238E27FC236}">
                <a16:creationId xmlns:a16="http://schemas.microsoft.com/office/drawing/2014/main" id="{A0E19519-264A-1216-FD1F-38299BFE7927}"/>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020F4608-B8FC-3F1C-C6EB-7FAFEBCA394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6"/>
              </a:ext>
            </a:extLst>
          </a:blip>
          <a:stretch>
            <a:fillRect/>
          </a:stretch>
        </p:blipFill>
        <p:spPr>
          <a:xfrm>
            <a:off x="11161188" y="6279305"/>
            <a:ext cx="605362" cy="294658"/>
          </a:xfrm>
          <a:prstGeom prst="rect">
            <a:avLst/>
          </a:prstGeom>
        </p:spPr>
      </p:pic>
      <p:graphicFrame>
        <p:nvGraphicFramePr>
          <p:cNvPr id="11" name="Chart 10">
            <a:extLst>
              <a:ext uri="{FF2B5EF4-FFF2-40B4-BE49-F238E27FC236}">
                <a16:creationId xmlns:a16="http://schemas.microsoft.com/office/drawing/2014/main" id="{F3E394D6-82A5-89D1-BC32-EF792FC9E2F1}"/>
              </a:ext>
            </a:extLst>
          </p:cNvPr>
          <p:cNvGraphicFramePr/>
          <p:nvPr>
            <p:custDataLst>
              <p:tags r:id="rId2"/>
            </p:custDataLst>
            <p:extLst>
              <p:ext uri="{D42A27DB-BD31-4B8C-83A1-F6EECF244321}">
                <p14:modId xmlns:p14="http://schemas.microsoft.com/office/powerpoint/2010/main" val="2421962946"/>
              </p:ext>
            </p:extLst>
          </p:nvPr>
        </p:nvGraphicFramePr>
        <p:xfrm>
          <a:off x="679450" y="1492250"/>
          <a:ext cx="11169650" cy="4408488"/>
        </p:xfrm>
        <a:graphic>
          <a:graphicData uri="http://schemas.openxmlformats.org/drawingml/2006/chart">
            <c:chart xmlns:c="http://schemas.openxmlformats.org/drawingml/2006/chart" xmlns:r="http://schemas.openxmlformats.org/officeDocument/2006/relationships" r:id="rId47"/>
          </a:graphicData>
        </a:graphic>
      </p:graphicFrame>
      <p:sp>
        <p:nvSpPr>
          <p:cNvPr id="213" name="Text Placeholder 2">
            <a:extLst>
              <a:ext uri="{FF2B5EF4-FFF2-40B4-BE49-F238E27FC236}">
                <a16:creationId xmlns:a16="http://schemas.microsoft.com/office/drawing/2014/main" id="{69802D06-2E85-3CD2-FABB-E58C474FE19B}"/>
              </a:ext>
            </a:extLst>
          </p:cNvPr>
          <p:cNvSpPr>
            <a:spLocks/>
          </p:cNvSpPr>
          <p:nvPr>
            <p:custDataLst>
              <p:tags r:id="rId3"/>
            </p:custDataLst>
          </p:nvPr>
        </p:nvSpPr>
        <p:spPr bwMode="auto">
          <a:xfrm>
            <a:off x="993775" y="14335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r>
              <a:rPr lang="en-GB" altLang="en-US" sz="900" dirty="0">
                <a:effectLst/>
                <a:latin typeface="Century Schoolbook (Body)"/>
                <a:sym typeface="Century Schoolbook (Body)"/>
              </a:rPr>
              <a:t>£m</a:t>
            </a:r>
            <a:endParaRPr lang="en-GB" sz="900" dirty="0">
              <a:latin typeface="Century Schoolbook (Body)"/>
              <a:sym typeface="Century Schoolbook (Body)"/>
            </a:endParaRPr>
          </a:p>
        </p:txBody>
      </p:sp>
      <p:sp>
        <p:nvSpPr>
          <p:cNvPr id="8" name="Text Placeholder 2">
            <a:extLst>
              <a:ext uri="{FF2B5EF4-FFF2-40B4-BE49-F238E27FC236}">
                <a16:creationId xmlns:a16="http://schemas.microsoft.com/office/drawing/2014/main" id="{3D6D4139-E43E-1305-0922-AD539B89B8B4}"/>
              </a:ext>
            </a:extLst>
          </p:cNvPr>
          <p:cNvSpPr>
            <a:spLocks/>
          </p:cNvSpPr>
          <p:nvPr>
            <p:custDataLst>
              <p:tags r:id="rId4"/>
            </p:custDataLst>
          </p:nvPr>
        </p:nvSpPr>
        <p:spPr bwMode="auto">
          <a:xfrm>
            <a:off x="13033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2EF611C-A07F-4D9C-A239-DB28F813C6AD}" type="datetime'''20''''''''''1''''''''''''''''''''''''''1'''''''">
              <a:rPr lang="en-GB" altLang="en-US" sz="900" b="0" smtClean="0">
                <a:solidFill>
                  <a:srgbClr val="ACAEB1"/>
                </a:solidFill>
                <a:latin typeface="Century Schoolbook (Body)"/>
              </a:rPr>
              <a:pPr/>
              <a:t>2011</a:t>
            </a:fld>
            <a:endParaRPr lang="en-GB" sz="900" b="0" dirty="0">
              <a:solidFill>
                <a:srgbClr val="ACAEB1"/>
              </a:solidFill>
              <a:latin typeface="Century Schoolbook (Body)"/>
              <a:sym typeface="Century Schoolbook (Body)"/>
            </a:endParaRPr>
          </a:p>
        </p:txBody>
      </p:sp>
      <p:sp>
        <p:nvSpPr>
          <p:cNvPr id="9" name="Text Placeholder 2">
            <a:extLst>
              <a:ext uri="{FF2B5EF4-FFF2-40B4-BE49-F238E27FC236}">
                <a16:creationId xmlns:a16="http://schemas.microsoft.com/office/drawing/2014/main" id="{2945E3E4-A3DA-C5BC-4551-4A816F3A0452}"/>
              </a:ext>
            </a:extLst>
          </p:cNvPr>
          <p:cNvSpPr>
            <a:spLocks/>
          </p:cNvSpPr>
          <p:nvPr>
            <p:custDataLst>
              <p:tags r:id="rId5"/>
            </p:custDataLst>
          </p:nvPr>
        </p:nvSpPr>
        <p:spPr bwMode="auto">
          <a:xfrm>
            <a:off x="20161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E5F40CC-1D16-467B-B3FA-C9CA09AF1263}" type="datetime'''2''0''''''''''''''''1''''2'''''''''''''''''''''''">
              <a:rPr lang="en-GB" altLang="en-US" sz="900" b="0" smtClean="0">
                <a:solidFill>
                  <a:srgbClr val="ACAEB1"/>
                </a:solidFill>
                <a:latin typeface="Century Schoolbook (Body)"/>
              </a:rPr>
              <a:pPr/>
              <a:t>2012</a:t>
            </a:fld>
            <a:endParaRPr lang="en-GB" sz="900" b="0" dirty="0">
              <a:solidFill>
                <a:srgbClr val="ACAEB1"/>
              </a:solidFill>
              <a:latin typeface="Century Schoolbook (Body)"/>
              <a:sym typeface="Century Schoolbook (Body)"/>
            </a:endParaRPr>
          </a:p>
        </p:txBody>
      </p:sp>
      <p:sp>
        <p:nvSpPr>
          <p:cNvPr id="10" name="Text Placeholder 2">
            <a:extLst>
              <a:ext uri="{FF2B5EF4-FFF2-40B4-BE49-F238E27FC236}">
                <a16:creationId xmlns:a16="http://schemas.microsoft.com/office/drawing/2014/main" id="{0BB05FBA-1C27-6763-1397-1A1C9191D104}"/>
              </a:ext>
            </a:extLst>
          </p:cNvPr>
          <p:cNvSpPr>
            <a:spLocks/>
          </p:cNvSpPr>
          <p:nvPr>
            <p:custDataLst>
              <p:tags r:id="rId6"/>
            </p:custDataLst>
          </p:nvPr>
        </p:nvSpPr>
        <p:spPr bwMode="auto">
          <a:xfrm>
            <a:off x="27273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399E1C3-18B0-454B-A22F-A8E868AFDF36}" type="datetime'''201''3'''''''''''''''''''''''''''''''''''''''''''''''''''''">
              <a:rPr lang="en-GB" altLang="en-US" sz="900" b="0" smtClean="0">
                <a:solidFill>
                  <a:srgbClr val="ACAEB1"/>
                </a:solidFill>
                <a:latin typeface="Century Schoolbook (Body)"/>
              </a:rPr>
              <a:pPr/>
              <a:t>2013</a:t>
            </a:fld>
            <a:endParaRPr lang="en-GB" sz="900" b="0" dirty="0">
              <a:solidFill>
                <a:srgbClr val="ACAEB1"/>
              </a:solidFill>
              <a:latin typeface="Century Schoolbook (Body)"/>
              <a:sym typeface="Century Schoolbook (Body)"/>
            </a:endParaRPr>
          </a:p>
        </p:txBody>
      </p:sp>
      <p:sp>
        <p:nvSpPr>
          <p:cNvPr id="21" name="Text Placeholder 2">
            <a:extLst>
              <a:ext uri="{FF2B5EF4-FFF2-40B4-BE49-F238E27FC236}">
                <a16:creationId xmlns:a16="http://schemas.microsoft.com/office/drawing/2014/main" id="{C1C9DEF7-7732-8386-0A58-E4E9EBAD9C9B}"/>
              </a:ext>
            </a:extLst>
          </p:cNvPr>
          <p:cNvSpPr>
            <a:spLocks/>
          </p:cNvSpPr>
          <p:nvPr>
            <p:custDataLst>
              <p:tags r:id="rId7"/>
            </p:custDataLst>
          </p:nvPr>
        </p:nvSpPr>
        <p:spPr bwMode="auto">
          <a:xfrm>
            <a:off x="34401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8B066F8-FE61-4D19-AFEB-D628D05AFE5E}" type="datetime'''''''''''''''''''''''''''20''''''''1''''''''''''4'''''">
              <a:rPr lang="en-GB" altLang="en-US" sz="900" b="0" smtClean="0">
                <a:solidFill>
                  <a:srgbClr val="ACAEB1"/>
                </a:solidFill>
                <a:latin typeface="Century Schoolbook (Body)"/>
              </a:rPr>
              <a:pPr/>
              <a:t>2014</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C4EEED6D-3EF4-F0E9-95C2-F114E87D0E3D}"/>
              </a:ext>
            </a:extLst>
          </p:cNvPr>
          <p:cNvSpPr>
            <a:spLocks/>
          </p:cNvSpPr>
          <p:nvPr>
            <p:custDataLst>
              <p:tags r:id="rId8"/>
            </p:custDataLst>
          </p:nvPr>
        </p:nvSpPr>
        <p:spPr bwMode="auto">
          <a:xfrm>
            <a:off x="415290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4A8C820-E305-46C9-8E83-4F081F246839}" type="datetime'''''''''''''''''''''2''''''''''''''''''''01''''''''''''''5'''">
              <a:rPr lang="en-GB" altLang="en-US" sz="900" b="0" smtClean="0">
                <a:solidFill>
                  <a:srgbClr val="ACAEB1"/>
                </a:solidFill>
                <a:latin typeface="Century Schoolbook (Body)"/>
              </a:rPr>
              <a:pPr/>
              <a:t>2015</a:t>
            </a:fld>
            <a:endParaRPr lang="en-GB" sz="900" b="0" dirty="0">
              <a:solidFill>
                <a:srgbClr val="ACAEB1"/>
              </a:solidFill>
              <a:latin typeface="Century Schoolbook (Body)"/>
              <a:sym typeface="Century Schoolbook (Body)"/>
            </a:endParaRPr>
          </a:p>
        </p:txBody>
      </p:sp>
      <p:sp>
        <p:nvSpPr>
          <p:cNvPr id="23" name="Text Placeholder 2">
            <a:extLst>
              <a:ext uri="{FF2B5EF4-FFF2-40B4-BE49-F238E27FC236}">
                <a16:creationId xmlns:a16="http://schemas.microsoft.com/office/drawing/2014/main" id="{F486E3DE-2FD7-E62B-B61C-90EEA10EA477}"/>
              </a:ext>
            </a:extLst>
          </p:cNvPr>
          <p:cNvSpPr>
            <a:spLocks/>
          </p:cNvSpPr>
          <p:nvPr>
            <p:custDataLst>
              <p:tags r:id="rId9"/>
            </p:custDataLst>
          </p:nvPr>
        </p:nvSpPr>
        <p:spPr bwMode="auto">
          <a:xfrm>
            <a:off x="486568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887F468-2BEE-4EC2-8C35-ABA6C1EDE211}" type="datetime'''''''''''''2''''0''''''''''''''''''''1''6'''''''">
              <a:rPr lang="en-GB" altLang="en-US" sz="900" b="0" smtClean="0">
                <a:solidFill>
                  <a:srgbClr val="ACAEB1"/>
                </a:solidFill>
                <a:latin typeface="Century Schoolbook (Body)"/>
              </a:rPr>
              <a:pPr/>
              <a:t>2016</a:t>
            </a:fld>
            <a:endParaRPr lang="en-GB" sz="900" b="0" dirty="0">
              <a:solidFill>
                <a:srgbClr val="ACAEB1"/>
              </a:solidFill>
              <a:latin typeface="Century Schoolbook (Body)"/>
              <a:sym typeface="Century Schoolbook (Body)"/>
            </a:endParaRPr>
          </a:p>
        </p:txBody>
      </p:sp>
      <p:sp>
        <p:nvSpPr>
          <p:cNvPr id="24" name="Text Placeholder 2">
            <a:extLst>
              <a:ext uri="{FF2B5EF4-FFF2-40B4-BE49-F238E27FC236}">
                <a16:creationId xmlns:a16="http://schemas.microsoft.com/office/drawing/2014/main" id="{0E1683CC-E4F6-DAEC-1602-CB672AE55719}"/>
              </a:ext>
            </a:extLst>
          </p:cNvPr>
          <p:cNvSpPr>
            <a:spLocks/>
          </p:cNvSpPr>
          <p:nvPr>
            <p:custDataLst>
              <p:tags r:id="rId10"/>
            </p:custDataLst>
          </p:nvPr>
        </p:nvSpPr>
        <p:spPr bwMode="auto">
          <a:xfrm>
            <a:off x="557688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9A3DA68-AFAF-440E-9240-D9743B0F8D9C}" type="datetime'''''''2''''''''''''''''''01''''''''''''''''''''''''7'''">
              <a:rPr lang="en-GB" altLang="en-US" sz="900" b="0" smtClean="0">
                <a:solidFill>
                  <a:srgbClr val="ACAEB1"/>
                </a:solidFill>
                <a:latin typeface="Century Schoolbook (Body)"/>
              </a:rPr>
              <a:pPr/>
              <a:t>2017</a:t>
            </a:fld>
            <a:endParaRPr lang="en-GB" sz="900" b="0" dirty="0">
              <a:solidFill>
                <a:srgbClr val="ACAEB1"/>
              </a:solidFill>
              <a:latin typeface="Century Schoolbook (Body)"/>
              <a:sym typeface="Century Schoolbook (Body)"/>
            </a:endParaRPr>
          </a:p>
        </p:txBody>
      </p:sp>
      <p:sp>
        <p:nvSpPr>
          <p:cNvPr id="25" name="Text Placeholder 2">
            <a:extLst>
              <a:ext uri="{FF2B5EF4-FFF2-40B4-BE49-F238E27FC236}">
                <a16:creationId xmlns:a16="http://schemas.microsoft.com/office/drawing/2014/main" id="{B5F6B603-8A35-46BD-D5DD-B0CB296FA573}"/>
              </a:ext>
            </a:extLst>
          </p:cNvPr>
          <p:cNvSpPr>
            <a:spLocks/>
          </p:cNvSpPr>
          <p:nvPr>
            <p:custDataLst>
              <p:tags r:id="rId11"/>
            </p:custDataLst>
          </p:nvPr>
        </p:nvSpPr>
        <p:spPr bwMode="auto">
          <a:xfrm>
            <a:off x="628967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B8DD0FC-FBD5-456B-9999-3E98FE336244}" type="datetime'''''2''0''''''''''''''''''''''''''''''1''''''''''8'''''''''''">
              <a:rPr lang="en-GB" altLang="en-US" sz="900" b="0" smtClean="0">
                <a:solidFill>
                  <a:srgbClr val="ACAEB1"/>
                </a:solidFill>
                <a:latin typeface="Century Schoolbook (Body)"/>
              </a:rPr>
              <a:pPr/>
              <a:t>2018</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5C04E2E6-9CD8-2774-3404-43BB367C1A22}"/>
              </a:ext>
            </a:extLst>
          </p:cNvPr>
          <p:cNvSpPr>
            <a:spLocks/>
          </p:cNvSpPr>
          <p:nvPr>
            <p:custDataLst>
              <p:tags r:id="rId12"/>
            </p:custDataLst>
          </p:nvPr>
        </p:nvSpPr>
        <p:spPr bwMode="auto">
          <a:xfrm>
            <a:off x="700246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E4A9BB7-F1FE-4756-800B-2C41EE3E6ED2}" type="datetime'''''''2''''''''''''01''''''''''''''''9'''''''">
              <a:rPr lang="en-GB" altLang="en-US" sz="900" b="0" smtClean="0">
                <a:solidFill>
                  <a:srgbClr val="ACAEB1"/>
                </a:solidFill>
                <a:latin typeface="Century Schoolbook (Body)"/>
              </a:rPr>
              <a:pPr/>
              <a:t>2019</a:t>
            </a:fld>
            <a:endParaRPr lang="en-GB" sz="900" b="0" dirty="0">
              <a:solidFill>
                <a:srgbClr val="ACAEB1"/>
              </a:solidFill>
              <a:latin typeface="Century Schoolbook (Body)"/>
              <a:sym typeface="Century Schoolbook (Body)"/>
            </a:endParaRPr>
          </a:p>
        </p:txBody>
      </p:sp>
      <p:sp>
        <p:nvSpPr>
          <p:cNvPr id="27" name="Text Placeholder 2">
            <a:extLst>
              <a:ext uri="{FF2B5EF4-FFF2-40B4-BE49-F238E27FC236}">
                <a16:creationId xmlns:a16="http://schemas.microsoft.com/office/drawing/2014/main" id="{EE3A7628-3475-9324-3B59-0DC68CF8E495}"/>
              </a:ext>
            </a:extLst>
          </p:cNvPr>
          <p:cNvSpPr>
            <a:spLocks/>
          </p:cNvSpPr>
          <p:nvPr>
            <p:custDataLst>
              <p:tags r:id="rId13"/>
            </p:custDataLst>
          </p:nvPr>
        </p:nvSpPr>
        <p:spPr bwMode="auto">
          <a:xfrm>
            <a:off x="771525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4B838D7-8D38-4BBD-A9B8-DF0C22721BA2}" type="datetime'''''''''''''2''''''''''''0''''''2''''''''''''''''''''0'''''''">
              <a:rPr lang="en-GB" altLang="en-US" sz="900" b="0" smtClean="0">
                <a:solidFill>
                  <a:srgbClr val="ACAEB1"/>
                </a:solidFill>
                <a:latin typeface="Century Schoolbook (Body)"/>
              </a:rPr>
              <a:pPr/>
              <a:t>2020</a:t>
            </a:fld>
            <a:endParaRPr lang="en-GB" sz="900" b="0" dirty="0">
              <a:solidFill>
                <a:srgbClr val="ACAEB1"/>
              </a:solidFill>
              <a:latin typeface="Century Schoolbook (Body)"/>
              <a:sym typeface="Century Schoolbook (Body)"/>
            </a:endParaRPr>
          </a:p>
        </p:txBody>
      </p:sp>
      <p:sp>
        <p:nvSpPr>
          <p:cNvPr id="28" name="Text Placeholder 2">
            <a:extLst>
              <a:ext uri="{FF2B5EF4-FFF2-40B4-BE49-F238E27FC236}">
                <a16:creationId xmlns:a16="http://schemas.microsoft.com/office/drawing/2014/main" id="{61BD79AA-57C3-B83A-F3B9-D2AD1950619A}"/>
              </a:ext>
            </a:extLst>
          </p:cNvPr>
          <p:cNvSpPr>
            <a:spLocks/>
          </p:cNvSpPr>
          <p:nvPr>
            <p:custDataLst>
              <p:tags r:id="rId14"/>
            </p:custDataLst>
          </p:nvPr>
        </p:nvSpPr>
        <p:spPr bwMode="auto">
          <a:xfrm>
            <a:off x="8426450"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6A7047D-64A8-4396-A617-6F04A047EA7A}" type="datetime'''''''''2''''02''''1'''''''''''''''">
              <a:rPr lang="en-GB" altLang="en-US" sz="900" b="0" smtClean="0">
                <a:solidFill>
                  <a:srgbClr val="ACAEB1"/>
                </a:solidFill>
                <a:latin typeface="Century Schoolbook (Body)"/>
              </a:rPr>
              <a:pPr/>
              <a:t>2021</a:t>
            </a:fld>
            <a:endParaRPr lang="en-GB" sz="900" b="0" dirty="0">
              <a:solidFill>
                <a:srgbClr val="ACAEB1"/>
              </a:solidFill>
              <a:latin typeface="Century Schoolbook (Body)"/>
              <a:sym typeface="Century Schoolbook (Body)"/>
            </a:endParaRPr>
          </a:p>
        </p:txBody>
      </p:sp>
      <p:sp>
        <p:nvSpPr>
          <p:cNvPr id="29" name="Text Placeholder 2">
            <a:extLst>
              <a:ext uri="{FF2B5EF4-FFF2-40B4-BE49-F238E27FC236}">
                <a16:creationId xmlns:a16="http://schemas.microsoft.com/office/drawing/2014/main" id="{DB7DC2E7-89F7-1445-8B89-2E5749ED55B8}"/>
              </a:ext>
            </a:extLst>
          </p:cNvPr>
          <p:cNvSpPr>
            <a:spLocks/>
          </p:cNvSpPr>
          <p:nvPr>
            <p:custDataLst>
              <p:tags r:id="rId15"/>
            </p:custDataLst>
          </p:nvPr>
        </p:nvSpPr>
        <p:spPr bwMode="auto">
          <a:xfrm>
            <a:off x="9139238"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C346DC-4E04-4BCB-A62B-DC9C8099A28F}" type="datetime'''''''2''''''''''''''''''''''''''''''0''''''''''''''22'''''">
              <a:rPr lang="en-GB" altLang="en-US" sz="900" b="0" smtClean="0">
                <a:solidFill>
                  <a:srgbClr val="ACAEB1"/>
                </a:solidFill>
                <a:latin typeface="Century Schoolbook (Body)"/>
              </a:rPr>
              <a:pPr/>
              <a:t>2022</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6EA44844-7DAE-539F-B03A-6D551F18E31E}"/>
              </a:ext>
            </a:extLst>
          </p:cNvPr>
          <p:cNvSpPr>
            <a:spLocks/>
          </p:cNvSpPr>
          <p:nvPr>
            <p:custDataLst>
              <p:tags r:id="rId16"/>
            </p:custDataLst>
          </p:nvPr>
        </p:nvSpPr>
        <p:spPr bwMode="auto">
          <a:xfrm>
            <a:off x="9852025"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8FCED6D-B820-46A3-9DBE-75FE13C7001F}" type="datetime'''''''20''''2''''''''''''''''''''''3'''">
              <a:rPr lang="en-GB" altLang="en-US" sz="900" b="0" smtClean="0">
                <a:solidFill>
                  <a:srgbClr val="ACAEB1"/>
                </a:solidFill>
                <a:latin typeface="Century Schoolbook (Body)"/>
              </a:rPr>
              <a:pPr/>
              <a:t>2023</a:t>
            </a:fld>
            <a:endParaRPr lang="en-GB" sz="900" b="0" dirty="0">
              <a:solidFill>
                <a:srgbClr val="ACAEB1"/>
              </a:solidFill>
              <a:latin typeface="Century Schoolbook (Body)"/>
              <a:sym typeface="Century Schoolbook (Body)"/>
            </a:endParaRPr>
          </a:p>
        </p:txBody>
      </p:sp>
      <p:sp>
        <p:nvSpPr>
          <p:cNvPr id="31" name="Text Placeholder 2">
            <a:extLst>
              <a:ext uri="{FF2B5EF4-FFF2-40B4-BE49-F238E27FC236}">
                <a16:creationId xmlns:a16="http://schemas.microsoft.com/office/drawing/2014/main" id="{96374280-9B26-61EB-A6AB-EE7482B3C161}"/>
              </a:ext>
            </a:extLst>
          </p:cNvPr>
          <p:cNvSpPr>
            <a:spLocks/>
          </p:cNvSpPr>
          <p:nvPr>
            <p:custDataLst>
              <p:tags r:id="rId17"/>
            </p:custDataLst>
          </p:nvPr>
        </p:nvSpPr>
        <p:spPr bwMode="auto">
          <a:xfrm>
            <a:off x="105648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01EC4BB8-A21C-4CF7-97F6-33E6A1F44AF5}" type="datetime'2''''0''''''''''''''''''''''''''2''''''''''''''''4'''''''">
              <a:rPr lang="en-GB" altLang="en-US" sz="900" b="0" smtClean="0">
                <a:solidFill>
                  <a:srgbClr val="ACAEB1"/>
                </a:solidFill>
                <a:latin typeface="Century Schoolbook (Body)"/>
              </a:rPr>
              <a:pPr/>
              <a:t>2024</a:t>
            </a:fld>
            <a:endParaRPr lang="en-GB" sz="900" b="0" dirty="0">
              <a:solidFill>
                <a:srgbClr val="ACAEB1"/>
              </a:solidFill>
              <a:latin typeface="Century Schoolbook (Body)"/>
              <a:sym typeface="Century Schoolbook (Body)"/>
            </a:endParaRPr>
          </a:p>
        </p:txBody>
      </p:sp>
      <p:sp>
        <p:nvSpPr>
          <p:cNvPr id="67" name="Text Placeholder 2">
            <a:extLst>
              <a:ext uri="{FF2B5EF4-FFF2-40B4-BE49-F238E27FC236}">
                <a16:creationId xmlns:a16="http://schemas.microsoft.com/office/drawing/2014/main" id="{198D72AD-CAA3-DE07-8A96-A926AEC97B92}"/>
              </a:ext>
            </a:extLst>
          </p:cNvPr>
          <p:cNvSpPr>
            <a:spLocks/>
          </p:cNvSpPr>
          <p:nvPr>
            <p:custDataLst>
              <p:tags r:id="rId18"/>
            </p:custDataLst>
          </p:nvPr>
        </p:nvSpPr>
        <p:spPr bwMode="auto">
          <a:xfrm>
            <a:off x="11276013" y="573405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639C1BA-8FB7-47D4-83A2-80B1BF677F0A}" type="datetime'''''''''''2''''''''''0''''''''''''''''''''''''''2''''5'''''">
              <a:rPr lang="en-GB" altLang="en-US" sz="900" b="0" smtClean="0">
                <a:solidFill>
                  <a:srgbClr val="ACAEB1"/>
                </a:solidFill>
                <a:latin typeface="Century Schoolbook (Body)"/>
              </a:rPr>
              <a:pPr/>
              <a:t>2025</a:t>
            </a:fld>
            <a:endParaRPr lang="en-GB" sz="900" b="0" dirty="0">
              <a:solidFill>
                <a:srgbClr val="ACAEB1"/>
              </a:solidFill>
              <a:latin typeface="Century Schoolbook (Body)"/>
              <a:sym typeface="Century Schoolbook (Body)"/>
            </a:endParaRPr>
          </a:p>
        </p:txBody>
      </p:sp>
      <p:sp useBgFill="1">
        <p:nvSpPr>
          <p:cNvPr id="141" name="Text Placeholder 2">
            <a:extLst>
              <a:ext uri="{FF2B5EF4-FFF2-40B4-BE49-F238E27FC236}">
                <a16:creationId xmlns:a16="http://schemas.microsoft.com/office/drawing/2014/main" id="{4AE7A21E-DEFB-0A03-6A81-16058F64986F}"/>
              </a:ext>
            </a:extLst>
          </p:cNvPr>
          <p:cNvSpPr>
            <a:spLocks/>
          </p:cNvSpPr>
          <p:nvPr>
            <p:custDataLst>
              <p:tags r:id="rId19"/>
            </p:custDataLst>
          </p:nvPr>
        </p:nvSpPr>
        <p:spPr bwMode="gray">
          <a:xfrm>
            <a:off x="1577975" y="4973639"/>
            <a:ext cx="1651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9122CE9-2043-4EB9-85CE-4AFD58B16082}" type="datetime'4''''''''''''''''''''''''''''''''''''2'''''''">
              <a:rPr lang="en-GB" altLang="en-US" sz="900" b="0" smtClean="0">
                <a:solidFill>
                  <a:srgbClr val="ACAEB1"/>
                </a:solidFill>
                <a:effectLst/>
                <a:latin typeface="Century Schoolbook (Body)"/>
                <a:sym typeface="Century Schoolbook (Body)"/>
              </a:rPr>
              <a:pPr lvl="0" algn="ctr">
                <a:spcBef>
                  <a:spcPct val="0"/>
                </a:spcBef>
                <a:spcAft>
                  <a:spcPct val="0"/>
                </a:spcAft>
              </a:pPr>
              <a:t>42</a:t>
            </a:fld>
            <a:endParaRPr lang="en-GB" sz="900" b="0" dirty="0">
              <a:solidFill>
                <a:srgbClr val="ACAEB1"/>
              </a:solidFill>
              <a:latin typeface="Century Schoolbook (Body)"/>
              <a:sym typeface="Century Schoolbook (Body)"/>
            </a:endParaRPr>
          </a:p>
        </p:txBody>
      </p:sp>
      <p:sp useBgFill="1">
        <p:nvSpPr>
          <p:cNvPr id="142" name="Text Placeholder 2">
            <a:extLst>
              <a:ext uri="{FF2B5EF4-FFF2-40B4-BE49-F238E27FC236}">
                <a16:creationId xmlns:a16="http://schemas.microsoft.com/office/drawing/2014/main" id="{907F1DE6-C959-D466-04C7-8AA3539B1CB0}"/>
              </a:ext>
            </a:extLst>
          </p:cNvPr>
          <p:cNvSpPr>
            <a:spLocks/>
          </p:cNvSpPr>
          <p:nvPr>
            <p:custDataLst>
              <p:tags r:id="rId20"/>
            </p:custDataLst>
          </p:nvPr>
        </p:nvSpPr>
        <p:spPr bwMode="gray">
          <a:xfrm>
            <a:off x="2035175" y="5026026"/>
            <a:ext cx="1651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0C6BD4A-A00D-40BF-9E8F-448E16D5E393}" type="datetime'3''''''''''''''''''''''''''''8'''''''">
              <a:rPr lang="en-GB" altLang="en-US" sz="900" b="0" smtClean="0">
                <a:solidFill>
                  <a:srgbClr val="ACAEB1"/>
                </a:solidFill>
                <a:effectLst/>
                <a:latin typeface="Century Schoolbook (Body)"/>
                <a:sym typeface="Century Schoolbook (Body)"/>
              </a:rPr>
              <a:pPr lvl="0" algn="ctr">
                <a:spcBef>
                  <a:spcPct val="0"/>
                </a:spcBef>
                <a:spcAft>
                  <a:spcPct val="0"/>
                </a:spcAft>
              </a:pPr>
              <a:t>38</a:t>
            </a:fld>
            <a:endParaRPr lang="en-GB" sz="900" b="0" dirty="0">
              <a:solidFill>
                <a:srgbClr val="ACAEB1"/>
              </a:solidFill>
              <a:latin typeface="Century Schoolbook (Body)"/>
              <a:sym typeface="Century Schoolbook (Body)"/>
            </a:endParaRPr>
          </a:p>
        </p:txBody>
      </p:sp>
      <p:sp useBgFill="1">
        <p:nvSpPr>
          <p:cNvPr id="143" name="Text Placeholder 2">
            <a:extLst>
              <a:ext uri="{FF2B5EF4-FFF2-40B4-BE49-F238E27FC236}">
                <a16:creationId xmlns:a16="http://schemas.microsoft.com/office/drawing/2014/main" id="{579AE12E-577A-5B05-DFAD-6BB63E6FF967}"/>
              </a:ext>
            </a:extLst>
          </p:cNvPr>
          <p:cNvSpPr>
            <a:spLocks/>
          </p:cNvSpPr>
          <p:nvPr>
            <p:custDataLst>
              <p:tags r:id="rId21"/>
            </p:custDataLst>
          </p:nvPr>
        </p:nvSpPr>
        <p:spPr bwMode="gray">
          <a:xfrm>
            <a:off x="2514600" y="4960939"/>
            <a:ext cx="1651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55D10B9-63A4-4DA7-BE62-16488A656BE9}" type="datetime'''''4''''''''''''''''''''''3'">
              <a:rPr lang="en-GB" altLang="en-US" sz="900" b="0" smtClean="0">
                <a:solidFill>
                  <a:srgbClr val="ACAEB1"/>
                </a:solidFill>
                <a:effectLst/>
                <a:latin typeface="Century Schoolbook (Body)"/>
                <a:sym typeface="Century Schoolbook (Body)"/>
              </a:rPr>
              <a:pPr lvl="0" algn="ctr">
                <a:spcBef>
                  <a:spcPct val="0"/>
                </a:spcBef>
                <a:spcAft>
                  <a:spcPct val="0"/>
                </a:spcAft>
              </a:pPr>
              <a:t>43</a:t>
            </a:fld>
            <a:endParaRPr lang="en-GB" sz="900" b="0" dirty="0">
              <a:solidFill>
                <a:srgbClr val="ACAEB1"/>
              </a:solidFill>
              <a:latin typeface="Century Schoolbook (Body)"/>
              <a:sym typeface="Century Schoolbook (Body)"/>
            </a:endParaRPr>
          </a:p>
        </p:txBody>
      </p:sp>
      <p:sp useBgFill="1">
        <p:nvSpPr>
          <p:cNvPr id="144" name="Text Placeholder 2">
            <a:extLst>
              <a:ext uri="{FF2B5EF4-FFF2-40B4-BE49-F238E27FC236}">
                <a16:creationId xmlns:a16="http://schemas.microsoft.com/office/drawing/2014/main" id="{90D16DF9-196E-59C0-0DA6-F284F4B97DAA}"/>
              </a:ext>
            </a:extLst>
          </p:cNvPr>
          <p:cNvSpPr>
            <a:spLocks/>
          </p:cNvSpPr>
          <p:nvPr>
            <p:custDataLst>
              <p:tags r:id="rId22"/>
            </p:custDataLst>
          </p:nvPr>
        </p:nvSpPr>
        <p:spPr bwMode="gray">
          <a:xfrm>
            <a:off x="3268663" y="4906964"/>
            <a:ext cx="1651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F36825C-369D-4AB7-9C17-74E3FC15ABA9}" type="datetime'''''''''''''''''''''''''''''''''''''''''''4''7'''''''''''">
              <a:rPr lang="en-GB" altLang="en-US" sz="900" b="0" smtClean="0">
                <a:solidFill>
                  <a:srgbClr val="ACAEB1"/>
                </a:solidFill>
                <a:effectLst/>
                <a:latin typeface="Century Schoolbook (Body)"/>
                <a:sym typeface="Century Schoolbook (Body)"/>
              </a:rPr>
              <a:pPr lvl="0" algn="ctr">
                <a:spcBef>
                  <a:spcPct val="0"/>
                </a:spcBef>
                <a:spcAft>
                  <a:spcPct val="0"/>
                </a:spcAft>
              </a:pPr>
              <a:t>47</a:t>
            </a:fld>
            <a:endParaRPr lang="en-GB" sz="900" b="0" dirty="0">
              <a:solidFill>
                <a:srgbClr val="ACAEB1"/>
              </a:solidFill>
              <a:latin typeface="Century Schoolbook (Body)"/>
              <a:sym typeface="Century Schoolbook (Body)"/>
            </a:endParaRPr>
          </a:p>
        </p:txBody>
      </p:sp>
      <p:sp useBgFill="1">
        <p:nvSpPr>
          <p:cNvPr id="145" name="Text Placeholder 2">
            <a:extLst>
              <a:ext uri="{FF2B5EF4-FFF2-40B4-BE49-F238E27FC236}">
                <a16:creationId xmlns:a16="http://schemas.microsoft.com/office/drawing/2014/main" id="{187827E3-A5FB-D6AA-4C06-1907B39EECB6}"/>
              </a:ext>
            </a:extLst>
          </p:cNvPr>
          <p:cNvSpPr>
            <a:spLocks/>
          </p:cNvSpPr>
          <p:nvPr>
            <p:custDataLst>
              <p:tags r:id="rId23"/>
            </p:custDataLst>
          </p:nvPr>
        </p:nvSpPr>
        <p:spPr bwMode="gray">
          <a:xfrm>
            <a:off x="5106988" y="3670301"/>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2F8DCE5-77DA-4670-AC38-2B3D99F46A53}" type="datetime'''''''''''''''''''''''''''''''''''''1''4''''''''0'''''''''''">
              <a:rPr lang="en-GB" altLang="en-US" sz="900" b="0" smtClean="0">
                <a:solidFill>
                  <a:srgbClr val="ACAEB1"/>
                </a:solidFill>
                <a:effectLst/>
                <a:latin typeface="Century Schoolbook (Body)"/>
                <a:sym typeface="Century Schoolbook (Body)"/>
              </a:rPr>
              <a:pPr lvl="0" algn="ctr">
                <a:spcBef>
                  <a:spcPct val="0"/>
                </a:spcBef>
                <a:spcAft>
                  <a:spcPct val="0"/>
                </a:spcAft>
              </a:pPr>
              <a:t>140</a:t>
            </a:fld>
            <a:endParaRPr lang="en-GB" sz="900" b="0" dirty="0">
              <a:solidFill>
                <a:srgbClr val="ACAEB1"/>
              </a:solidFill>
              <a:latin typeface="Century Schoolbook (Body)"/>
              <a:sym typeface="Century Schoolbook (Body)"/>
            </a:endParaRPr>
          </a:p>
        </p:txBody>
      </p:sp>
      <p:sp useBgFill="1">
        <p:nvSpPr>
          <p:cNvPr id="88" name="Text Placeholder 2">
            <a:extLst>
              <a:ext uri="{FF2B5EF4-FFF2-40B4-BE49-F238E27FC236}">
                <a16:creationId xmlns:a16="http://schemas.microsoft.com/office/drawing/2014/main" id="{88009FB7-EF91-1699-29F0-48843754FF1E}"/>
              </a:ext>
            </a:extLst>
          </p:cNvPr>
          <p:cNvSpPr>
            <a:spLocks/>
          </p:cNvSpPr>
          <p:nvPr>
            <p:custDataLst>
              <p:tags r:id="rId24"/>
            </p:custDataLst>
          </p:nvPr>
        </p:nvSpPr>
        <p:spPr bwMode="gray">
          <a:xfrm>
            <a:off x="5737225" y="3844925"/>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375A2E8-10AB-4B4C-8814-ADC52E841742}" type="datetime'''''''''''''''''''1''''''''''''''''''2''''''''7'''''''">
              <a:rPr lang="en-GB" altLang="en-US" sz="900" b="0" smtClean="0">
                <a:solidFill>
                  <a:srgbClr val="ACAEB1"/>
                </a:solidFill>
                <a:effectLst/>
                <a:latin typeface="Century Schoolbook (Body)"/>
                <a:sym typeface="Century Schoolbook (Body)"/>
              </a:rPr>
              <a:pPr lvl="0" algn="ctr">
                <a:spcBef>
                  <a:spcPct val="0"/>
                </a:spcBef>
                <a:spcAft>
                  <a:spcPct val="0"/>
                </a:spcAft>
              </a:pPr>
              <a:t>127</a:t>
            </a:fld>
            <a:endParaRPr lang="en-GB" sz="900" b="0" dirty="0">
              <a:solidFill>
                <a:srgbClr val="ACAEB1"/>
              </a:solidFill>
              <a:latin typeface="Century Schoolbook (Body)"/>
              <a:sym typeface="Century Schoolbook (Body)"/>
            </a:endParaRPr>
          </a:p>
        </p:txBody>
      </p:sp>
      <p:sp useBgFill="1">
        <p:nvSpPr>
          <p:cNvPr id="146" name="Text Placeholder 2">
            <a:extLst>
              <a:ext uri="{FF2B5EF4-FFF2-40B4-BE49-F238E27FC236}">
                <a16:creationId xmlns:a16="http://schemas.microsoft.com/office/drawing/2014/main" id="{39A8844C-4B4C-E4B2-7240-9A68C940A5DA}"/>
              </a:ext>
            </a:extLst>
          </p:cNvPr>
          <p:cNvSpPr>
            <a:spLocks/>
          </p:cNvSpPr>
          <p:nvPr>
            <p:custDataLst>
              <p:tags r:id="rId25"/>
            </p:custDataLst>
          </p:nvPr>
        </p:nvSpPr>
        <p:spPr bwMode="gray">
          <a:xfrm>
            <a:off x="6532563" y="3000376"/>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A446A5D-6C02-4163-AF7C-D67F6E20E12E}" type="datetime'''''''1''''''''''''''''''''''''''''''''''''''''''90'''''''">
              <a:rPr lang="en-GB" altLang="en-US" sz="900" b="0" smtClean="0">
                <a:solidFill>
                  <a:srgbClr val="ACAEB1"/>
                </a:solidFill>
                <a:effectLst/>
                <a:latin typeface="Century Schoolbook (Body)"/>
                <a:sym typeface="Century Schoolbook (Body)"/>
              </a:rPr>
              <a:pPr lvl="0" algn="ctr">
                <a:spcBef>
                  <a:spcPct val="0"/>
                </a:spcBef>
                <a:spcAft>
                  <a:spcPct val="0"/>
                </a:spcAft>
              </a:pPr>
              <a:t>190</a:t>
            </a:fld>
            <a:endParaRPr lang="en-GB" sz="900" b="0" dirty="0">
              <a:solidFill>
                <a:srgbClr val="ACAEB1"/>
              </a:solidFill>
              <a:latin typeface="Century Schoolbook (Body)"/>
              <a:sym typeface="Century Schoolbook (Body)"/>
            </a:endParaRPr>
          </a:p>
        </p:txBody>
      </p:sp>
      <p:sp useBgFill="1">
        <p:nvSpPr>
          <p:cNvPr id="147" name="Text Placeholder 2">
            <a:extLst>
              <a:ext uri="{FF2B5EF4-FFF2-40B4-BE49-F238E27FC236}">
                <a16:creationId xmlns:a16="http://schemas.microsoft.com/office/drawing/2014/main" id="{E6C4ECAF-23FC-8B34-83F8-21C24254DAF8}"/>
              </a:ext>
            </a:extLst>
          </p:cNvPr>
          <p:cNvSpPr>
            <a:spLocks/>
          </p:cNvSpPr>
          <p:nvPr>
            <p:custDataLst>
              <p:tags r:id="rId26"/>
            </p:custDataLst>
          </p:nvPr>
        </p:nvSpPr>
        <p:spPr bwMode="gray">
          <a:xfrm>
            <a:off x="6799263" y="3665539"/>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C916E33-CEFE-42AA-B6AD-DC271E00F563}" type="datetime'''''''''''14''''''''''''''''''0'''''''''''''''''''">
              <a:rPr lang="en-GB" altLang="en-US" sz="900" b="0" smtClean="0">
                <a:solidFill>
                  <a:srgbClr val="ACAEB1"/>
                </a:solidFill>
                <a:effectLst/>
                <a:latin typeface="Century Schoolbook (Body)"/>
                <a:sym typeface="Century Schoolbook (Body)"/>
              </a:rPr>
              <a:pPr lvl="0" algn="ctr">
                <a:spcBef>
                  <a:spcPct val="0"/>
                </a:spcBef>
                <a:spcAft>
                  <a:spcPct val="0"/>
                </a:spcAft>
              </a:pPr>
              <a:t>140</a:t>
            </a:fld>
            <a:endParaRPr lang="en-GB" sz="900" b="0" dirty="0">
              <a:solidFill>
                <a:srgbClr val="ACAEB1"/>
              </a:solidFill>
              <a:latin typeface="Century Schoolbook (Body)"/>
              <a:sym typeface="Century Schoolbook (Body)"/>
            </a:endParaRPr>
          </a:p>
        </p:txBody>
      </p:sp>
      <p:sp useBgFill="1">
        <p:nvSpPr>
          <p:cNvPr id="148" name="Text Placeholder 2">
            <a:extLst>
              <a:ext uri="{FF2B5EF4-FFF2-40B4-BE49-F238E27FC236}">
                <a16:creationId xmlns:a16="http://schemas.microsoft.com/office/drawing/2014/main" id="{DE87F151-A9B8-3FA0-C426-C733553D2253}"/>
              </a:ext>
            </a:extLst>
          </p:cNvPr>
          <p:cNvSpPr>
            <a:spLocks/>
          </p:cNvSpPr>
          <p:nvPr>
            <p:custDataLst>
              <p:tags r:id="rId27"/>
            </p:custDataLst>
          </p:nvPr>
        </p:nvSpPr>
        <p:spPr bwMode="gray">
          <a:xfrm>
            <a:off x="8936038" y="3613151"/>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11D621D-3047-4497-B4BE-55F9F7587651}" type="datetime'''''''''1''''''4''''''''''''''''''''''''''4'''''''''">
              <a:rPr lang="en-GB" altLang="en-US" sz="900" b="0" smtClean="0">
                <a:solidFill>
                  <a:srgbClr val="ACAEB1"/>
                </a:solidFill>
                <a:effectLst/>
                <a:latin typeface="Century Schoolbook (Body)"/>
                <a:sym typeface="Century Schoolbook (Body)"/>
              </a:rPr>
              <a:pPr lvl="0" algn="ctr">
                <a:spcBef>
                  <a:spcPct val="0"/>
                </a:spcBef>
                <a:spcAft>
                  <a:spcPct val="0"/>
                </a:spcAft>
              </a:pPr>
              <a:t>144</a:t>
            </a:fld>
            <a:endParaRPr lang="en-GB" sz="900" b="0" dirty="0">
              <a:solidFill>
                <a:srgbClr val="ACAEB1"/>
              </a:solidFill>
              <a:latin typeface="Century Schoolbook (Body)"/>
              <a:sym typeface="Century Schoolbook (Body)"/>
            </a:endParaRPr>
          </a:p>
        </p:txBody>
      </p:sp>
      <p:sp useBgFill="1">
        <p:nvSpPr>
          <p:cNvPr id="149" name="Text Placeholder 2">
            <a:extLst>
              <a:ext uri="{FF2B5EF4-FFF2-40B4-BE49-F238E27FC236}">
                <a16:creationId xmlns:a16="http://schemas.microsoft.com/office/drawing/2014/main" id="{F0353F2D-3268-B999-C23D-865BBCF0B278}"/>
              </a:ext>
            </a:extLst>
          </p:cNvPr>
          <p:cNvSpPr>
            <a:spLocks/>
          </p:cNvSpPr>
          <p:nvPr>
            <p:custDataLst>
              <p:tags r:id="rId28"/>
            </p:custDataLst>
          </p:nvPr>
        </p:nvSpPr>
        <p:spPr bwMode="gray">
          <a:xfrm>
            <a:off x="9232900" y="2927351"/>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4EBBAA3-96CD-420E-A7AC-FA78E74219AD}" type="datetime'''''1''9''''''''''''''6'''''''''''">
              <a:rPr lang="en-GB" altLang="en-US" sz="900" b="0" smtClean="0">
                <a:solidFill>
                  <a:srgbClr val="ACAEB1"/>
                </a:solidFill>
                <a:effectLst/>
                <a:latin typeface="Century Schoolbook (Body)"/>
                <a:sym typeface="Century Schoolbook (Body)"/>
              </a:rPr>
              <a:pPr lvl="0" algn="ctr">
                <a:spcBef>
                  <a:spcPct val="0"/>
                </a:spcBef>
                <a:spcAft>
                  <a:spcPct val="0"/>
                </a:spcAft>
              </a:pPr>
              <a:t>196</a:t>
            </a:fld>
            <a:endParaRPr lang="en-GB" sz="900" b="0" dirty="0">
              <a:solidFill>
                <a:srgbClr val="ACAEB1"/>
              </a:solidFill>
              <a:latin typeface="Century Schoolbook (Body)"/>
              <a:sym typeface="Century Schoolbook (Body)"/>
            </a:endParaRPr>
          </a:p>
        </p:txBody>
      </p:sp>
      <p:sp useBgFill="1">
        <p:nvSpPr>
          <p:cNvPr id="150" name="Text Placeholder 2">
            <a:extLst>
              <a:ext uri="{FF2B5EF4-FFF2-40B4-BE49-F238E27FC236}">
                <a16:creationId xmlns:a16="http://schemas.microsoft.com/office/drawing/2014/main" id="{9E2E34F8-EB7F-A422-31D4-BEF6EBB90DE3}"/>
              </a:ext>
            </a:extLst>
          </p:cNvPr>
          <p:cNvSpPr>
            <a:spLocks/>
          </p:cNvSpPr>
          <p:nvPr>
            <p:custDataLst>
              <p:tags r:id="rId29"/>
            </p:custDataLst>
          </p:nvPr>
        </p:nvSpPr>
        <p:spPr bwMode="gray">
          <a:xfrm>
            <a:off x="9798050" y="2938464"/>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D6DC75E0-436A-4D40-B071-F03F68ACFFCB}" type="datetime'''''''''1''''''''''''9''''''''''5'''''">
              <a:rPr lang="en-GB" altLang="en-US" sz="900" b="0" smtClean="0">
                <a:solidFill>
                  <a:srgbClr val="ACAEB1"/>
                </a:solidFill>
                <a:effectLst/>
                <a:latin typeface="Century Schoolbook (Body)"/>
                <a:sym typeface="Century Schoolbook (Body)"/>
              </a:rPr>
              <a:pPr lvl="0" algn="ctr">
                <a:spcBef>
                  <a:spcPct val="0"/>
                </a:spcBef>
                <a:spcAft>
                  <a:spcPct val="0"/>
                </a:spcAft>
              </a:pPr>
              <a:t>195</a:t>
            </a:fld>
            <a:endParaRPr lang="en-GB" sz="900" b="0" dirty="0">
              <a:solidFill>
                <a:srgbClr val="ACAEB1"/>
              </a:solidFill>
              <a:latin typeface="Century Schoolbook (Body)"/>
              <a:sym typeface="Century Schoolbook (Body)"/>
            </a:endParaRPr>
          </a:p>
        </p:txBody>
      </p:sp>
      <p:sp useBgFill="1">
        <p:nvSpPr>
          <p:cNvPr id="151" name="Text Placeholder 2">
            <a:extLst>
              <a:ext uri="{FF2B5EF4-FFF2-40B4-BE49-F238E27FC236}">
                <a16:creationId xmlns:a16="http://schemas.microsoft.com/office/drawing/2014/main" id="{62461ACA-A213-3C1F-1834-655A148CDC23}"/>
              </a:ext>
            </a:extLst>
          </p:cNvPr>
          <p:cNvSpPr>
            <a:spLocks/>
          </p:cNvSpPr>
          <p:nvPr>
            <p:custDataLst>
              <p:tags r:id="rId30"/>
            </p:custDataLst>
          </p:nvPr>
        </p:nvSpPr>
        <p:spPr bwMode="gray">
          <a:xfrm>
            <a:off x="10361613" y="3017839"/>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F2DD9367-0F16-40A4-80C1-513C2E490C9E}" type="datetime'''''''''''''''1''''''''89'''''''''''">
              <a:rPr lang="en-GB" altLang="en-US" sz="900" b="0" smtClean="0">
                <a:solidFill>
                  <a:srgbClr val="ACAEB1"/>
                </a:solidFill>
                <a:effectLst/>
                <a:latin typeface="Century Schoolbook (Body)"/>
                <a:sym typeface="Century Schoolbook (Body)"/>
              </a:rPr>
              <a:pPr lvl="0" algn="ctr">
                <a:spcBef>
                  <a:spcPct val="0"/>
                </a:spcBef>
                <a:spcAft>
                  <a:spcPct val="0"/>
                </a:spcAft>
              </a:pPr>
              <a:t>189</a:t>
            </a:fld>
            <a:endParaRPr lang="en-GB" sz="900" b="0" dirty="0">
              <a:solidFill>
                <a:srgbClr val="ACAEB1"/>
              </a:solidFill>
              <a:latin typeface="Century Schoolbook (Body)"/>
              <a:sym typeface="Century Schoolbook (Body)"/>
            </a:endParaRPr>
          </a:p>
        </p:txBody>
      </p:sp>
      <p:sp useBgFill="1">
        <p:nvSpPr>
          <p:cNvPr id="152" name="Text Placeholder 2">
            <a:extLst>
              <a:ext uri="{FF2B5EF4-FFF2-40B4-BE49-F238E27FC236}">
                <a16:creationId xmlns:a16="http://schemas.microsoft.com/office/drawing/2014/main" id="{93FC9F70-5502-265C-2202-E82C44A67DBA}"/>
              </a:ext>
            </a:extLst>
          </p:cNvPr>
          <p:cNvSpPr>
            <a:spLocks/>
          </p:cNvSpPr>
          <p:nvPr>
            <p:custDataLst>
              <p:tags r:id="rId31"/>
            </p:custDataLst>
          </p:nvPr>
        </p:nvSpPr>
        <p:spPr bwMode="gray">
          <a:xfrm>
            <a:off x="10658475" y="2265364"/>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5B0FAB2-B4FA-4153-B1C3-F6EC918B74C2}" type="datetime'''2''4''''''''''''''''''''''''''5'''''">
              <a:rPr lang="en-GB" altLang="en-US" sz="900" b="0" smtClean="0">
                <a:solidFill>
                  <a:srgbClr val="ACAEB1"/>
                </a:solidFill>
                <a:effectLst/>
                <a:latin typeface="Century Schoolbook (Body)"/>
              </a:rPr>
              <a:pPr/>
              <a:t>245</a:t>
            </a:fld>
            <a:endParaRPr lang="en-GB" sz="900" b="0" dirty="0">
              <a:solidFill>
                <a:srgbClr val="ACAEB1"/>
              </a:solidFill>
              <a:latin typeface="Century Schoolbook (Body)"/>
              <a:sym typeface="Century Schoolbook (Body)"/>
            </a:endParaRPr>
          </a:p>
        </p:txBody>
      </p:sp>
      <p:sp useBgFill="1">
        <p:nvSpPr>
          <p:cNvPr id="153" name="Text Placeholder 2">
            <a:extLst>
              <a:ext uri="{FF2B5EF4-FFF2-40B4-BE49-F238E27FC236}">
                <a16:creationId xmlns:a16="http://schemas.microsoft.com/office/drawing/2014/main" id="{AE5F7A1E-83CC-DFFA-70AD-DD7974880B17}"/>
              </a:ext>
            </a:extLst>
          </p:cNvPr>
          <p:cNvSpPr>
            <a:spLocks/>
          </p:cNvSpPr>
          <p:nvPr>
            <p:custDataLst>
              <p:tags r:id="rId32"/>
            </p:custDataLst>
          </p:nvPr>
        </p:nvSpPr>
        <p:spPr bwMode="gray">
          <a:xfrm>
            <a:off x="11072813" y="2935288"/>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8205AE9-AA38-4B3D-8968-2445E2728602}" type="datetime'''''''''''''''''''''''''''''''''''''''''1''''9''''''''5'''''''">
              <a:rPr lang="en-GB" altLang="en-US" sz="900" b="0" smtClean="0">
                <a:solidFill>
                  <a:srgbClr val="ACAEB1"/>
                </a:solidFill>
                <a:effectLst/>
                <a:latin typeface="Century Schoolbook (Body)"/>
              </a:rPr>
              <a:pPr/>
              <a:t>195</a:t>
            </a:fld>
            <a:endParaRPr lang="en-GB" sz="900" b="0" dirty="0">
              <a:solidFill>
                <a:srgbClr val="ACAEB1"/>
              </a:solidFill>
              <a:latin typeface="Century Schoolbook (Body)"/>
              <a:sym typeface="Century Schoolbook (Body)"/>
            </a:endParaRPr>
          </a:p>
        </p:txBody>
      </p:sp>
      <p:sp useBgFill="1">
        <p:nvSpPr>
          <p:cNvPr id="7" name="Text Placeholder 2">
            <a:extLst>
              <a:ext uri="{FF2B5EF4-FFF2-40B4-BE49-F238E27FC236}">
                <a16:creationId xmlns:a16="http://schemas.microsoft.com/office/drawing/2014/main" id="{60EDA8A3-6375-4643-FC5F-C60B2D2AB821}"/>
              </a:ext>
            </a:extLst>
          </p:cNvPr>
          <p:cNvSpPr>
            <a:spLocks/>
          </p:cNvSpPr>
          <p:nvPr>
            <p:custDataLst>
              <p:tags r:id="rId33"/>
            </p:custDataLst>
          </p:nvPr>
        </p:nvSpPr>
        <p:spPr bwMode="gray">
          <a:xfrm>
            <a:off x="11156950" y="2339976"/>
            <a:ext cx="228600" cy="136525"/>
          </a:xfrm>
          <a:prstGeom prst="rect">
            <a:avLst/>
          </a:prstGeom>
          <a:ln>
            <a:noFill/>
          </a:ln>
          <a:effectLst/>
        </p:spPr>
        <p:txBody>
          <a:bodyPr vert="horz" wrap="none" lIns="19050" tIns="0" rIns="1905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DA0AD3C0-F1ED-4672-898B-CB21E22A6722}" type="datetime'''''''''2''''''''''''''40'''''''''''''''">
              <a:rPr lang="en-GB" altLang="en-US" sz="900" b="0" smtClean="0">
                <a:solidFill>
                  <a:srgbClr val="ACAEB1"/>
                </a:solidFill>
                <a:effectLst/>
                <a:latin typeface="Century Schoolbook (Body)"/>
                <a:sym typeface="Century Schoolbook (Body)"/>
              </a:rPr>
              <a:pPr lvl="0" algn="ctr">
                <a:spcBef>
                  <a:spcPct val="0"/>
                </a:spcBef>
                <a:spcAft>
                  <a:spcPct val="0"/>
                </a:spcAft>
              </a:pPr>
              <a:t>240</a:t>
            </a:fld>
            <a:endParaRPr lang="en-GB" sz="900" b="0" dirty="0">
              <a:solidFill>
                <a:srgbClr val="ACAEB1"/>
              </a:solidFill>
              <a:latin typeface="Century Schoolbook (Body)"/>
              <a:sym typeface="Century Schoolbook (Body)"/>
            </a:endParaRPr>
          </a:p>
        </p:txBody>
      </p:sp>
      <p:sp>
        <p:nvSpPr>
          <p:cNvPr id="171" name="Rectangle 170">
            <a:extLst>
              <a:ext uri="{FF2B5EF4-FFF2-40B4-BE49-F238E27FC236}">
                <a16:creationId xmlns:a16="http://schemas.microsoft.com/office/drawing/2014/main" id="{71C4FC37-4A0C-40FA-39B1-E571F2113D3F}"/>
              </a:ext>
            </a:extLst>
          </p:cNvPr>
          <p:cNvSpPr/>
          <p:nvPr>
            <p:custDataLst>
              <p:tags r:id="rId34"/>
            </p:custDataLst>
          </p:nvPr>
        </p:nvSpPr>
        <p:spPr bwMode="auto">
          <a:xfrm>
            <a:off x="5749925" y="5965825"/>
            <a:ext cx="160338" cy="120650"/>
          </a:xfrm>
          <a:prstGeom prst="rect">
            <a:avLst/>
          </a:prstGeom>
          <a:solidFill>
            <a:srgbClr val="7030A0"/>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2" name="Rectangle 171">
            <a:extLst>
              <a:ext uri="{FF2B5EF4-FFF2-40B4-BE49-F238E27FC236}">
                <a16:creationId xmlns:a16="http://schemas.microsoft.com/office/drawing/2014/main" id="{3AD4E518-2E20-EC1B-7308-B188333C4BAD}"/>
              </a:ext>
            </a:extLst>
          </p:cNvPr>
          <p:cNvSpPr/>
          <p:nvPr>
            <p:custDataLst>
              <p:tags r:id="rId35"/>
            </p:custDataLst>
          </p:nvPr>
        </p:nvSpPr>
        <p:spPr bwMode="auto">
          <a:xfrm>
            <a:off x="6215063" y="5965825"/>
            <a:ext cx="160338" cy="120650"/>
          </a:xfrm>
          <a:prstGeom prst="rect">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Rectangle 172">
            <a:extLst>
              <a:ext uri="{FF2B5EF4-FFF2-40B4-BE49-F238E27FC236}">
                <a16:creationId xmlns:a16="http://schemas.microsoft.com/office/drawing/2014/main" id="{6F4D1C52-0669-858F-74F4-BF1BE099412E}"/>
              </a:ext>
            </a:extLst>
          </p:cNvPr>
          <p:cNvSpPr/>
          <p:nvPr>
            <p:custDataLst>
              <p:tags r:id="rId36"/>
            </p:custDataLst>
          </p:nvPr>
        </p:nvSpPr>
        <p:spPr bwMode="auto">
          <a:xfrm>
            <a:off x="6680200" y="5965825"/>
            <a:ext cx="160338" cy="120650"/>
          </a:xfrm>
          <a:prstGeom prst="rect">
            <a:avLst/>
          </a:prstGeom>
          <a:solidFill>
            <a:schemeClr val="accent3"/>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4" name="Rectangle 173">
            <a:extLst>
              <a:ext uri="{FF2B5EF4-FFF2-40B4-BE49-F238E27FC236}">
                <a16:creationId xmlns:a16="http://schemas.microsoft.com/office/drawing/2014/main" id="{35F1E006-0F6F-CD63-AF90-2190894D3E73}"/>
              </a:ext>
            </a:extLst>
          </p:cNvPr>
          <p:cNvSpPr/>
          <p:nvPr>
            <p:custDataLst>
              <p:tags r:id="rId37"/>
            </p:custDataLst>
          </p:nvPr>
        </p:nvSpPr>
        <p:spPr bwMode="auto">
          <a:xfrm>
            <a:off x="7145338" y="5965825"/>
            <a:ext cx="160338" cy="120650"/>
          </a:xfrm>
          <a:prstGeom prst="rect">
            <a:avLst/>
          </a:prstGeom>
          <a:solidFill>
            <a:schemeClr val="accent4"/>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5" name="Text Placeholder 2">
            <a:extLst>
              <a:ext uri="{FF2B5EF4-FFF2-40B4-BE49-F238E27FC236}">
                <a16:creationId xmlns:a16="http://schemas.microsoft.com/office/drawing/2014/main" id="{31B90859-D95E-F645-3AC9-ABC5D0682F83}"/>
              </a:ext>
            </a:extLst>
          </p:cNvPr>
          <p:cNvSpPr>
            <a:spLocks/>
          </p:cNvSpPr>
          <p:nvPr>
            <p:custDataLst>
              <p:tags r:id="rId38"/>
            </p:custDataLst>
          </p:nvPr>
        </p:nvSpPr>
        <p:spPr bwMode="auto">
          <a:xfrm>
            <a:off x="5961063" y="5962650"/>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4018E352-8AA2-45C7-A9E9-0443A402D417}" type="datetime'''''Q''''''''''''''1'''''''">
              <a:rPr lang="en-GB" altLang="en-US" sz="900" b="0" smtClean="0">
                <a:solidFill>
                  <a:srgbClr val="ACAEB1"/>
                </a:solidFill>
                <a:effectLst/>
                <a:latin typeface="Century Schoolbook (Body)"/>
                <a:sym typeface="Century Schoolbook (Body)"/>
              </a:rPr>
              <a:pPr lvl="0">
                <a:spcBef>
                  <a:spcPct val="0"/>
                </a:spcBef>
                <a:spcAft>
                  <a:spcPct val="0"/>
                </a:spcAft>
              </a:pPr>
              <a:t>Q1</a:t>
            </a:fld>
            <a:endParaRPr lang="en-GB" sz="900" b="0" dirty="0">
              <a:solidFill>
                <a:srgbClr val="ACAEB1"/>
              </a:solidFill>
              <a:latin typeface="Century Schoolbook (Body)"/>
              <a:sym typeface="Century Schoolbook (Body)"/>
            </a:endParaRPr>
          </a:p>
        </p:txBody>
      </p:sp>
      <p:sp>
        <p:nvSpPr>
          <p:cNvPr id="167" name="Text Placeholder 2">
            <a:extLst>
              <a:ext uri="{FF2B5EF4-FFF2-40B4-BE49-F238E27FC236}">
                <a16:creationId xmlns:a16="http://schemas.microsoft.com/office/drawing/2014/main" id="{BBEB4873-36E7-EDFC-81F0-3F295FDBE208}"/>
              </a:ext>
            </a:extLst>
          </p:cNvPr>
          <p:cNvSpPr>
            <a:spLocks/>
          </p:cNvSpPr>
          <p:nvPr>
            <p:custDataLst>
              <p:tags r:id="rId39"/>
            </p:custDataLst>
          </p:nvPr>
        </p:nvSpPr>
        <p:spPr bwMode="auto">
          <a:xfrm>
            <a:off x="6426200" y="5962650"/>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63D07264-110D-48E7-98E4-92534FFD4BDD}" type="datetime'''''''''''''''''''Q''''''''''''''''''''''''''''''''2'''''''''">
              <a:rPr lang="en-GB" altLang="en-US" sz="900" b="0" smtClean="0">
                <a:solidFill>
                  <a:srgbClr val="ACAEB1"/>
                </a:solidFill>
                <a:effectLst/>
                <a:latin typeface="Century Schoolbook (Body)"/>
                <a:sym typeface="Century Schoolbook (Body)"/>
              </a:rPr>
              <a:pPr lvl="0">
                <a:spcBef>
                  <a:spcPct val="0"/>
                </a:spcBef>
                <a:spcAft>
                  <a:spcPct val="0"/>
                </a:spcAft>
              </a:pPr>
              <a:t>Q2</a:t>
            </a:fld>
            <a:endParaRPr lang="en-GB" sz="900" b="0" dirty="0">
              <a:solidFill>
                <a:srgbClr val="ACAEB1"/>
              </a:solidFill>
              <a:latin typeface="Century Schoolbook (Body)"/>
              <a:sym typeface="Century Schoolbook (Body)"/>
            </a:endParaRPr>
          </a:p>
        </p:txBody>
      </p:sp>
      <p:sp>
        <p:nvSpPr>
          <p:cNvPr id="168" name="Text Placeholder 2">
            <a:extLst>
              <a:ext uri="{FF2B5EF4-FFF2-40B4-BE49-F238E27FC236}">
                <a16:creationId xmlns:a16="http://schemas.microsoft.com/office/drawing/2014/main" id="{601A07C2-4379-54AC-49B7-7A6F0B0DC2CD}"/>
              </a:ext>
            </a:extLst>
          </p:cNvPr>
          <p:cNvSpPr>
            <a:spLocks/>
          </p:cNvSpPr>
          <p:nvPr>
            <p:custDataLst>
              <p:tags r:id="rId40"/>
            </p:custDataLst>
          </p:nvPr>
        </p:nvSpPr>
        <p:spPr bwMode="auto">
          <a:xfrm>
            <a:off x="6891338" y="5962650"/>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7A29CC08-5D02-49C5-B9ED-9C03E20EE898}" type="datetime'''''''''''''''''''''''''Q''''''''3'''''''''''''''''">
              <a:rPr lang="en-GB" altLang="en-US" sz="900" b="0" smtClean="0">
                <a:solidFill>
                  <a:srgbClr val="ACAEB1"/>
                </a:solidFill>
                <a:effectLst/>
                <a:latin typeface="Century Schoolbook (Body)"/>
                <a:sym typeface="Century Schoolbook (Body)"/>
              </a:rPr>
              <a:pPr lvl="0">
                <a:spcBef>
                  <a:spcPct val="0"/>
                </a:spcBef>
                <a:spcAft>
                  <a:spcPct val="0"/>
                </a:spcAft>
              </a:pPr>
              <a:t>Q3</a:t>
            </a:fld>
            <a:endParaRPr lang="en-GB" sz="900" b="0" dirty="0">
              <a:solidFill>
                <a:srgbClr val="ACAEB1"/>
              </a:solidFill>
              <a:latin typeface="Century Schoolbook (Body)"/>
              <a:sym typeface="Century Schoolbook (Body)"/>
            </a:endParaRPr>
          </a:p>
        </p:txBody>
      </p:sp>
      <p:sp>
        <p:nvSpPr>
          <p:cNvPr id="169" name="Text Placeholder 2">
            <a:extLst>
              <a:ext uri="{FF2B5EF4-FFF2-40B4-BE49-F238E27FC236}">
                <a16:creationId xmlns:a16="http://schemas.microsoft.com/office/drawing/2014/main" id="{0480F473-E726-C520-3292-082905760640}"/>
              </a:ext>
            </a:extLst>
          </p:cNvPr>
          <p:cNvSpPr>
            <a:spLocks/>
          </p:cNvSpPr>
          <p:nvPr>
            <p:custDataLst>
              <p:tags r:id="rId41"/>
            </p:custDataLst>
          </p:nvPr>
        </p:nvSpPr>
        <p:spPr bwMode="auto">
          <a:xfrm>
            <a:off x="7356475" y="5962650"/>
            <a:ext cx="152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1BCF37DC-1D5B-4992-8233-130BE5F210E3}" type="datetime'''''''''''''Q''''''''4'''''">
              <a:rPr lang="en-GB" altLang="en-US" sz="900" b="0" smtClean="0">
                <a:solidFill>
                  <a:srgbClr val="ACAEB1"/>
                </a:solidFill>
                <a:effectLst/>
                <a:latin typeface="Century Schoolbook (Body)"/>
                <a:sym typeface="Century Schoolbook (Body)"/>
              </a:rPr>
              <a:pPr lvl="0">
                <a:spcBef>
                  <a:spcPct val="0"/>
                </a:spcBef>
                <a:spcAft>
                  <a:spcPct val="0"/>
                </a:spcAft>
              </a:pPr>
              <a:t>Q4</a:t>
            </a:fld>
            <a:endParaRPr lang="en-GB" sz="900" b="0" dirty="0">
              <a:solidFill>
                <a:srgbClr val="ACAEB1"/>
              </a:solidFill>
              <a:latin typeface="Century Schoolbook (Body)"/>
              <a:sym typeface="Century Schoolbook (Body)"/>
            </a:endParaRPr>
          </a:p>
        </p:txBody>
      </p:sp>
    </p:spTree>
    <p:extLst>
      <p:ext uri="{BB962C8B-B14F-4D97-AF65-F5344CB8AC3E}">
        <p14:creationId xmlns:p14="http://schemas.microsoft.com/office/powerpoint/2010/main" val="1895231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D75E4-CDCC-E4A3-B898-98E7B195677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766972-89D0-7927-D38B-5A7010B58629}"/>
              </a:ext>
            </a:extLst>
          </p:cNvPr>
          <p:cNvGraphicFramePr>
            <a:graphicFrameLocks/>
          </p:cNvGraphicFramePr>
          <p:nvPr>
            <p:custDataLst>
              <p:tags r:id="rId1"/>
            </p:custDataLst>
            <p:extLst>
              <p:ext uri="{D42A27DB-BD31-4B8C-83A1-F6EECF244321}">
                <p14:modId xmlns:p14="http://schemas.microsoft.com/office/powerpoint/2010/main" val="769676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4" imgW="395" imgH="394" progId="TCLayout.ActiveDocument.1">
                  <p:embed/>
                </p:oleObj>
              </mc:Choice>
              <mc:Fallback>
                <p:oleObj name="think-cell Slide" r:id="rId74" imgW="395" imgH="394" progId="TCLayout.ActiveDocument.1">
                  <p:embed/>
                  <p:pic>
                    <p:nvPicPr>
                      <p:cNvPr id="4" name="Object 3" hidden="1">
                        <a:extLst>
                          <a:ext uri="{FF2B5EF4-FFF2-40B4-BE49-F238E27FC236}">
                            <a16:creationId xmlns:a16="http://schemas.microsoft.com/office/drawing/2014/main" id="{D9766972-89D0-7927-D38B-5A7010B58629}"/>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7988085-AAA1-61B9-C320-A4D34877A4AE}"/>
              </a:ext>
            </a:extLst>
          </p:cNvPr>
          <p:cNvSpPr>
            <a:spLocks noGrp="1"/>
          </p:cNvSpPr>
          <p:nvPr>
            <p:ph type="title"/>
          </p:nvPr>
        </p:nvSpPr>
        <p:spPr>
          <a:xfrm>
            <a:off x="438150" y="408720"/>
            <a:ext cx="11328400" cy="610455"/>
          </a:xfrm>
        </p:spPr>
        <p:txBody>
          <a:bodyPr vert="horz" rIns="0"/>
          <a:lstStyle/>
          <a:p>
            <a:r>
              <a:rPr lang="en-GB" sz="2200"/>
              <a:t>UK Digital Out of Home Revenue by Quarter and Environment</a:t>
            </a:r>
            <a:endParaRPr lang="en-US"/>
          </a:p>
        </p:txBody>
      </p:sp>
      <p:sp>
        <p:nvSpPr>
          <p:cNvPr id="5" name="Title 1">
            <a:extLst>
              <a:ext uri="{FF2B5EF4-FFF2-40B4-BE49-F238E27FC236}">
                <a16:creationId xmlns:a16="http://schemas.microsoft.com/office/drawing/2014/main" id="{413A6F93-651C-6728-5E4C-9346610DFDB8}"/>
              </a:ext>
            </a:extLst>
          </p:cNvPr>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a:latin typeface="+mn-lt"/>
              </a:rPr>
              <a:t>Source: Outsmart</a:t>
            </a:r>
          </a:p>
        </p:txBody>
      </p:sp>
      <p:pic>
        <p:nvPicPr>
          <p:cNvPr id="2" name="Graphic 1">
            <a:extLst>
              <a:ext uri="{FF2B5EF4-FFF2-40B4-BE49-F238E27FC236}">
                <a16:creationId xmlns:a16="http://schemas.microsoft.com/office/drawing/2014/main" id="{87F426B1-0463-B284-3D65-ACB819ACF23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6"/>
              </a:ext>
            </a:extLst>
          </a:blip>
          <a:stretch>
            <a:fillRect/>
          </a:stretch>
        </p:blipFill>
        <p:spPr>
          <a:xfrm>
            <a:off x="11161188" y="6279305"/>
            <a:ext cx="605362" cy="294658"/>
          </a:xfrm>
          <a:prstGeom prst="rect">
            <a:avLst/>
          </a:prstGeom>
        </p:spPr>
      </p:pic>
      <p:graphicFrame>
        <p:nvGraphicFramePr>
          <p:cNvPr id="19" name="Chart 18">
            <a:extLst>
              <a:ext uri="{FF2B5EF4-FFF2-40B4-BE49-F238E27FC236}">
                <a16:creationId xmlns:a16="http://schemas.microsoft.com/office/drawing/2014/main" id="{602E96A7-BC42-E686-61CC-F5C775E1159E}"/>
              </a:ext>
            </a:extLst>
          </p:cNvPr>
          <p:cNvGraphicFramePr/>
          <p:nvPr>
            <p:custDataLst>
              <p:tags r:id="rId2"/>
            </p:custDataLst>
            <p:extLst>
              <p:ext uri="{D42A27DB-BD31-4B8C-83A1-F6EECF244321}">
                <p14:modId xmlns:p14="http://schemas.microsoft.com/office/powerpoint/2010/main" val="501243357"/>
              </p:ext>
            </p:extLst>
          </p:nvPr>
        </p:nvGraphicFramePr>
        <p:xfrm>
          <a:off x="998538" y="1614488"/>
          <a:ext cx="10850562" cy="3816350"/>
        </p:xfrm>
        <a:graphic>
          <a:graphicData uri="http://schemas.openxmlformats.org/drawingml/2006/chart">
            <c:chart xmlns:c="http://schemas.openxmlformats.org/drawingml/2006/chart" xmlns:r="http://schemas.openxmlformats.org/officeDocument/2006/relationships" r:id="rId77"/>
          </a:graphicData>
        </a:graphic>
      </p:graphicFrame>
      <p:sp>
        <p:nvSpPr>
          <p:cNvPr id="249" name="Text Placeholder 2">
            <a:extLst>
              <a:ext uri="{FF2B5EF4-FFF2-40B4-BE49-F238E27FC236}">
                <a16:creationId xmlns:a16="http://schemas.microsoft.com/office/drawing/2014/main" id="{0E50C6FF-B735-E180-FA71-C6C3BDFA42F8}"/>
              </a:ext>
            </a:extLst>
          </p:cNvPr>
          <p:cNvSpPr>
            <a:spLocks/>
          </p:cNvSpPr>
          <p:nvPr>
            <p:custDataLst>
              <p:tags r:id="rId3"/>
            </p:custDataLst>
          </p:nvPr>
        </p:nvSpPr>
        <p:spPr bwMode="gray">
          <a:xfrm>
            <a:off x="903288" y="5280025"/>
            <a:ext cx="6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4CEBE2A0-BC62-4BF7-B7EB-4FA9577A5846}" type="datetime'''''''''''''''''0'''''''''''''''">
              <a:rPr lang="en-GB" altLang="en-US" sz="900" b="0" smtClean="0">
                <a:solidFill>
                  <a:srgbClr val="ACAEB1"/>
                </a:solidFill>
                <a:effectLst/>
                <a:latin typeface="Century Schoolbook (Body)"/>
                <a:sym typeface="Century Schoolbook (Body)"/>
              </a:rPr>
              <a:pPr lvl="0" algn="r">
                <a:spcBef>
                  <a:spcPct val="0"/>
                </a:spcBef>
                <a:spcAft>
                  <a:spcPct val="0"/>
                </a:spcAft>
              </a:pPr>
              <a:t>0</a:t>
            </a:fld>
            <a:endParaRPr lang="en-GB" sz="900" b="0" dirty="0">
              <a:solidFill>
                <a:srgbClr val="ACAEB1"/>
              </a:solidFill>
              <a:latin typeface="Century Schoolbook (Body)"/>
              <a:sym typeface="Century Schoolbook (Body)"/>
            </a:endParaRPr>
          </a:p>
        </p:txBody>
      </p:sp>
      <p:sp>
        <p:nvSpPr>
          <p:cNvPr id="250" name="Text Placeholder 2">
            <a:extLst>
              <a:ext uri="{FF2B5EF4-FFF2-40B4-BE49-F238E27FC236}">
                <a16:creationId xmlns:a16="http://schemas.microsoft.com/office/drawing/2014/main" id="{48D370DB-DF0A-E48E-A582-AC1C8716D762}"/>
              </a:ext>
            </a:extLst>
          </p:cNvPr>
          <p:cNvSpPr>
            <a:spLocks/>
          </p:cNvSpPr>
          <p:nvPr>
            <p:custDataLst>
              <p:tags r:id="rId4"/>
            </p:custDataLst>
          </p:nvPr>
        </p:nvSpPr>
        <p:spPr bwMode="gray">
          <a:xfrm>
            <a:off x="839788" y="5051425"/>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56500C3E-860E-4FBE-9DF7-442571B1F006}" type="datetime'1''''''0'''''''''''''''''''''''''''''">
              <a:rPr lang="en-GB" altLang="en-US" sz="900" b="0" smtClean="0">
                <a:solidFill>
                  <a:srgbClr val="ACAEB1"/>
                </a:solidFill>
                <a:effectLst/>
                <a:latin typeface="Century Schoolbook (Body)"/>
              </a:rPr>
              <a:pPr lvl="0" algn="r">
                <a:spcBef>
                  <a:spcPct val="0"/>
                </a:spcBef>
                <a:spcAft>
                  <a:spcPct val="0"/>
                </a:spcAft>
              </a:pPr>
              <a:t>10</a:t>
            </a:fld>
            <a:endParaRPr lang="en-GB" sz="900" b="0" dirty="0">
              <a:solidFill>
                <a:srgbClr val="ACAEB1"/>
              </a:solidFill>
              <a:latin typeface="Century Schoolbook (Body)"/>
            </a:endParaRPr>
          </a:p>
        </p:txBody>
      </p:sp>
      <p:sp>
        <p:nvSpPr>
          <p:cNvPr id="251" name="Text Placeholder 2">
            <a:extLst>
              <a:ext uri="{FF2B5EF4-FFF2-40B4-BE49-F238E27FC236}">
                <a16:creationId xmlns:a16="http://schemas.microsoft.com/office/drawing/2014/main" id="{07BF2F20-A46D-CC45-F7D4-B8C3D7DE6D87}"/>
              </a:ext>
            </a:extLst>
          </p:cNvPr>
          <p:cNvSpPr>
            <a:spLocks/>
          </p:cNvSpPr>
          <p:nvPr>
            <p:custDataLst>
              <p:tags r:id="rId5"/>
            </p:custDataLst>
          </p:nvPr>
        </p:nvSpPr>
        <p:spPr bwMode="gray">
          <a:xfrm>
            <a:off x="839788" y="4824413"/>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44EA8AA6-D642-403A-8AA7-741AA3A00A97}" type="datetime'''''''''''''''''20'''''''''''''''''''''''''">
              <a:rPr lang="en-GB" altLang="en-US" sz="900" b="0" smtClean="0">
                <a:solidFill>
                  <a:srgbClr val="ACAEB1"/>
                </a:solidFill>
                <a:effectLst/>
                <a:latin typeface="Century Schoolbook (Body)"/>
              </a:rPr>
              <a:pPr lvl="0" algn="r">
                <a:spcBef>
                  <a:spcPct val="0"/>
                </a:spcBef>
                <a:spcAft>
                  <a:spcPct val="0"/>
                </a:spcAft>
              </a:pPr>
              <a:t>20</a:t>
            </a:fld>
            <a:endParaRPr lang="en-GB" sz="900" b="0" dirty="0">
              <a:solidFill>
                <a:srgbClr val="ACAEB1"/>
              </a:solidFill>
              <a:latin typeface="Century Schoolbook (Body)"/>
            </a:endParaRPr>
          </a:p>
        </p:txBody>
      </p:sp>
      <p:sp>
        <p:nvSpPr>
          <p:cNvPr id="252" name="Text Placeholder 2">
            <a:extLst>
              <a:ext uri="{FF2B5EF4-FFF2-40B4-BE49-F238E27FC236}">
                <a16:creationId xmlns:a16="http://schemas.microsoft.com/office/drawing/2014/main" id="{8A0D56DA-78CE-C0CF-3522-DB07062A707F}"/>
              </a:ext>
            </a:extLst>
          </p:cNvPr>
          <p:cNvSpPr>
            <a:spLocks/>
          </p:cNvSpPr>
          <p:nvPr>
            <p:custDataLst>
              <p:tags r:id="rId6"/>
            </p:custDataLst>
          </p:nvPr>
        </p:nvSpPr>
        <p:spPr bwMode="gray">
          <a:xfrm>
            <a:off x="839788" y="4595813"/>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F6C521C2-71BC-4066-8EEB-09AF1182AD71}" type="datetime'''''''''''3''''''''0'''''''">
              <a:rPr lang="en-GB" altLang="en-US" sz="900" b="0" smtClean="0">
                <a:solidFill>
                  <a:srgbClr val="ACAEB1"/>
                </a:solidFill>
                <a:effectLst/>
                <a:latin typeface="Century Schoolbook (Body)"/>
              </a:rPr>
              <a:pPr lvl="0" algn="r">
                <a:spcBef>
                  <a:spcPct val="0"/>
                </a:spcBef>
                <a:spcAft>
                  <a:spcPct val="0"/>
                </a:spcAft>
              </a:pPr>
              <a:t>30</a:t>
            </a:fld>
            <a:endParaRPr lang="en-GB" sz="900" b="0" dirty="0">
              <a:solidFill>
                <a:srgbClr val="ACAEB1"/>
              </a:solidFill>
              <a:latin typeface="Century Schoolbook (Body)"/>
            </a:endParaRPr>
          </a:p>
        </p:txBody>
      </p:sp>
      <p:sp>
        <p:nvSpPr>
          <p:cNvPr id="253" name="Text Placeholder 2">
            <a:extLst>
              <a:ext uri="{FF2B5EF4-FFF2-40B4-BE49-F238E27FC236}">
                <a16:creationId xmlns:a16="http://schemas.microsoft.com/office/drawing/2014/main" id="{00970573-9043-D5DF-D0F4-B99AA612ADD7}"/>
              </a:ext>
            </a:extLst>
          </p:cNvPr>
          <p:cNvSpPr>
            <a:spLocks/>
          </p:cNvSpPr>
          <p:nvPr>
            <p:custDataLst>
              <p:tags r:id="rId7"/>
            </p:custDataLst>
          </p:nvPr>
        </p:nvSpPr>
        <p:spPr bwMode="gray">
          <a:xfrm>
            <a:off x="839788" y="4367213"/>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81D598D9-2A9F-4CE8-A1A9-28273113CE0A}" type="datetime'''''''''''''''''''''4''''''''''0'''''''''''''''''">
              <a:rPr lang="en-GB" altLang="en-US" sz="900" b="0" smtClean="0">
                <a:solidFill>
                  <a:srgbClr val="ACAEB1"/>
                </a:solidFill>
                <a:effectLst/>
                <a:latin typeface="Century Schoolbook (Body)"/>
              </a:rPr>
              <a:pPr lvl="0" algn="r">
                <a:spcBef>
                  <a:spcPct val="0"/>
                </a:spcBef>
                <a:spcAft>
                  <a:spcPct val="0"/>
                </a:spcAft>
              </a:pPr>
              <a:t>40</a:t>
            </a:fld>
            <a:endParaRPr lang="en-GB" sz="900" b="0" dirty="0">
              <a:solidFill>
                <a:srgbClr val="ACAEB1"/>
              </a:solidFill>
              <a:latin typeface="Century Schoolbook (Body)"/>
            </a:endParaRPr>
          </a:p>
        </p:txBody>
      </p:sp>
      <p:sp>
        <p:nvSpPr>
          <p:cNvPr id="254" name="Text Placeholder 2">
            <a:extLst>
              <a:ext uri="{FF2B5EF4-FFF2-40B4-BE49-F238E27FC236}">
                <a16:creationId xmlns:a16="http://schemas.microsoft.com/office/drawing/2014/main" id="{33E472AF-C141-35CE-B45C-A17612FACC1F}"/>
              </a:ext>
            </a:extLst>
          </p:cNvPr>
          <p:cNvSpPr>
            <a:spLocks/>
          </p:cNvSpPr>
          <p:nvPr>
            <p:custDataLst>
              <p:tags r:id="rId8"/>
            </p:custDataLst>
          </p:nvPr>
        </p:nvSpPr>
        <p:spPr bwMode="gray">
          <a:xfrm>
            <a:off x="839788" y="4138613"/>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AB5DD769-FE9E-4861-8307-00E6ECF78E13}" type="datetime'''''''''''''''''''''''''''''''''5''''''''''''''''0'''">
              <a:rPr lang="en-GB" altLang="en-US" sz="900" b="0" smtClean="0">
                <a:solidFill>
                  <a:srgbClr val="ACAEB1"/>
                </a:solidFill>
                <a:effectLst/>
                <a:latin typeface="Century Schoolbook (Body)"/>
              </a:rPr>
              <a:pPr lvl="0" algn="r">
                <a:spcBef>
                  <a:spcPct val="0"/>
                </a:spcBef>
                <a:spcAft>
                  <a:spcPct val="0"/>
                </a:spcAft>
              </a:pPr>
              <a:t>50</a:t>
            </a:fld>
            <a:endParaRPr lang="en-GB" sz="900" b="0" dirty="0">
              <a:solidFill>
                <a:srgbClr val="ACAEB1"/>
              </a:solidFill>
              <a:latin typeface="Century Schoolbook (Body)"/>
            </a:endParaRPr>
          </a:p>
        </p:txBody>
      </p:sp>
      <p:sp>
        <p:nvSpPr>
          <p:cNvPr id="255" name="Text Placeholder 2">
            <a:extLst>
              <a:ext uri="{FF2B5EF4-FFF2-40B4-BE49-F238E27FC236}">
                <a16:creationId xmlns:a16="http://schemas.microsoft.com/office/drawing/2014/main" id="{7CE30BC4-A941-BC19-73C7-F2F868A34552}"/>
              </a:ext>
            </a:extLst>
          </p:cNvPr>
          <p:cNvSpPr>
            <a:spLocks/>
          </p:cNvSpPr>
          <p:nvPr>
            <p:custDataLst>
              <p:tags r:id="rId9"/>
            </p:custDataLst>
          </p:nvPr>
        </p:nvSpPr>
        <p:spPr bwMode="gray">
          <a:xfrm>
            <a:off x="839788" y="3911600"/>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33FA1B8A-A006-4701-B4E5-96D8A6F385DF}" type="datetime'''''''''''''''''''6''''''''''''''''''''0'''''''">
              <a:rPr lang="en-GB" altLang="en-US" sz="900" b="0" smtClean="0">
                <a:solidFill>
                  <a:srgbClr val="ACAEB1"/>
                </a:solidFill>
                <a:effectLst/>
                <a:latin typeface="Century Schoolbook (Body)"/>
              </a:rPr>
              <a:pPr lvl="0" algn="r">
                <a:spcBef>
                  <a:spcPct val="0"/>
                </a:spcBef>
                <a:spcAft>
                  <a:spcPct val="0"/>
                </a:spcAft>
              </a:pPr>
              <a:t>60</a:t>
            </a:fld>
            <a:endParaRPr lang="en-GB" sz="900" b="0" dirty="0">
              <a:solidFill>
                <a:srgbClr val="ACAEB1"/>
              </a:solidFill>
              <a:latin typeface="Century Schoolbook (Body)"/>
            </a:endParaRPr>
          </a:p>
        </p:txBody>
      </p:sp>
      <p:sp>
        <p:nvSpPr>
          <p:cNvPr id="256" name="Text Placeholder 2">
            <a:extLst>
              <a:ext uri="{FF2B5EF4-FFF2-40B4-BE49-F238E27FC236}">
                <a16:creationId xmlns:a16="http://schemas.microsoft.com/office/drawing/2014/main" id="{D225EB3B-91D6-54AB-1261-77FF27AE849D}"/>
              </a:ext>
            </a:extLst>
          </p:cNvPr>
          <p:cNvSpPr>
            <a:spLocks/>
          </p:cNvSpPr>
          <p:nvPr>
            <p:custDataLst>
              <p:tags r:id="rId10"/>
            </p:custDataLst>
          </p:nvPr>
        </p:nvSpPr>
        <p:spPr bwMode="gray">
          <a:xfrm>
            <a:off x="839788" y="3683000"/>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B6B4B92B-4373-449B-A699-7CDAD2F25533}" type="datetime'''''''''''''7''''''''''''''''''''0'''''''''''''''">
              <a:rPr lang="en-GB" altLang="en-US" sz="900" b="0" smtClean="0">
                <a:solidFill>
                  <a:srgbClr val="ACAEB1"/>
                </a:solidFill>
                <a:effectLst/>
                <a:latin typeface="Century Schoolbook (Body)"/>
              </a:rPr>
              <a:pPr lvl="0" algn="r">
                <a:spcBef>
                  <a:spcPct val="0"/>
                </a:spcBef>
                <a:spcAft>
                  <a:spcPct val="0"/>
                </a:spcAft>
              </a:pPr>
              <a:t>70</a:t>
            </a:fld>
            <a:endParaRPr lang="en-GB" sz="900" b="0" dirty="0">
              <a:solidFill>
                <a:srgbClr val="ACAEB1"/>
              </a:solidFill>
              <a:latin typeface="Century Schoolbook (Body)"/>
            </a:endParaRPr>
          </a:p>
        </p:txBody>
      </p:sp>
      <p:sp>
        <p:nvSpPr>
          <p:cNvPr id="257" name="Text Placeholder 2">
            <a:extLst>
              <a:ext uri="{FF2B5EF4-FFF2-40B4-BE49-F238E27FC236}">
                <a16:creationId xmlns:a16="http://schemas.microsoft.com/office/drawing/2014/main" id="{AD823431-9FCE-A90F-7F71-559E43218485}"/>
              </a:ext>
            </a:extLst>
          </p:cNvPr>
          <p:cNvSpPr>
            <a:spLocks/>
          </p:cNvSpPr>
          <p:nvPr>
            <p:custDataLst>
              <p:tags r:id="rId11"/>
            </p:custDataLst>
          </p:nvPr>
        </p:nvSpPr>
        <p:spPr bwMode="gray">
          <a:xfrm>
            <a:off x="839788" y="3454400"/>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61FE1B89-2C16-4030-B35E-0D7F4D42DA7B}" type="datetime'8''''''''''''''''''''''''''''''''''''''''''''''''0'''''''''''">
              <a:rPr lang="en-GB" altLang="en-US" sz="900" b="0" smtClean="0">
                <a:solidFill>
                  <a:srgbClr val="ACAEB1"/>
                </a:solidFill>
                <a:effectLst/>
                <a:latin typeface="Century Schoolbook (Body)"/>
              </a:rPr>
              <a:pPr lvl="0" algn="r">
                <a:spcBef>
                  <a:spcPct val="0"/>
                </a:spcBef>
                <a:spcAft>
                  <a:spcPct val="0"/>
                </a:spcAft>
              </a:pPr>
              <a:t>80</a:t>
            </a:fld>
            <a:endParaRPr lang="en-GB" sz="900" b="0" dirty="0">
              <a:solidFill>
                <a:srgbClr val="ACAEB1"/>
              </a:solidFill>
              <a:latin typeface="Century Schoolbook (Body)"/>
            </a:endParaRPr>
          </a:p>
        </p:txBody>
      </p:sp>
      <p:sp>
        <p:nvSpPr>
          <p:cNvPr id="258" name="Text Placeholder 2">
            <a:extLst>
              <a:ext uri="{FF2B5EF4-FFF2-40B4-BE49-F238E27FC236}">
                <a16:creationId xmlns:a16="http://schemas.microsoft.com/office/drawing/2014/main" id="{5945AE11-9379-6826-C66A-3BA2AB82EED8}"/>
              </a:ext>
            </a:extLst>
          </p:cNvPr>
          <p:cNvSpPr>
            <a:spLocks/>
          </p:cNvSpPr>
          <p:nvPr>
            <p:custDataLst>
              <p:tags r:id="rId12"/>
            </p:custDataLst>
          </p:nvPr>
        </p:nvSpPr>
        <p:spPr bwMode="gray">
          <a:xfrm>
            <a:off x="839788" y="3225800"/>
            <a:ext cx="127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380D8115-7F87-47EF-9EF5-D425FC121562}" type="datetime'''''''9''''''''''''''''''''''''''0'''''''''''''''''''">
              <a:rPr lang="en-GB" altLang="en-US" sz="900" b="0" smtClean="0">
                <a:solidFill>
                  <a:srgbClr val="ACAEB1"/>
                </a:solidFill>
                <a:effectLst/>
                <a:latin typeface="Century Schoolbook (Body)"/>
              </a:rPr>
              <a:pPr lvl="0" algn="r">
                <a:spcBef>
                  <a:spcPct val="0"/>
                </a:spcBef>
                <a:spcAft>
                  <a:spcPct val="0"/>
                </a:spcAft>
              </a:pPr>
              <a:t>90</a:t>
            </a:fld>
            <a:endParaRPr lang="en-GB" sz="900" b="0" dirty="0">
              <a:solidFill>
                <a:srgbClr val="ACAEB1"/>
              </a:solidFill>
              <a:latin typeface="Century Schoolbook (Body)"/>
            </a:endParaRPr>
          </a:p>
        </p:txBody>
      </p:sp>
      <p:sp>
        <p:nvSpPr>
          <p:cNvPr id="259" name="Text Placeholder 2">
            <a:extLst>
              <a:ext uri="{FF2B5EF4-FFF2-40B4-BE49-F238E27FC236}">
                <a16:creationId xmlns:a16="http://schemas.microsoft.com/office/drawing/2014/main" id="{022EF587-48CB-55A6-730B-3B72E612AEDD}"/>
              </a:ext>
            </a:extLst>
          </p:cNvPr>
          <p:cNvSpPr>
            <a:spLocks/>
          </p:cNvSpPr>
          <p:nvPr>
            <p:custDataLst>
              <p:tags r:id="rId13"/>
            </p:custDataLst>
          </p:nvPr>
        </p:nvSpPr>
        <p:spPr bwMode="gray">
          <a:xfrm>
            <a:off x="776288" y="29987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B2451901-D33A-4F79-8A2A-0127D015C719}" type="datetime'''''''''''10''''''0'">
              <a:rPr lang="en-GB" altLang="en-US" sz="900" b="0" smtClean="0">
                <a:solidFill>
                  <a:srgbClr val="ACAEB1"/>
                </a:solidFill>
                <a:effectLst/>
                <a:latin typeface="Century Schoolbook (Body)"/>
              </a:rPr>
              <a:pPr lvl="0" algn="r">
                <a:spcBef>
                  <a:spcPct val="0"/>
                </a:spcBef>
                <a:spcAft>
                  <a:spcPct val="0"/>
                </a:spcAft>
              </a:pPr>
              <a:t>100</a:t>
            </a:fld>
            <a:endParaRPr lang="en-GB" sz="900" b="0" dirty="0">
              <a:solidFill>
                <a:srgbClr val="ACAEB1"/>
              </a:solidFill>
              <a:latin typeface="Century Schoolbook (Body)"/>
            </a:endParaRPr>
          </a:p>
        </p:txBody>
      </p:sp>
      <p:sp>
        <p:nvSpPr>
          <p:cNvPr id="260" name="Text Placeholder 2">
            <a:extLst>
              <a:ext uri="{FF2B5EF4-FFF2-40B4-BE49-F238E27FC236}">
                <a16:creationId xmlns:a16="http://schemas.microsoft.com/office/drawing/2014/main" id="{0280B03B-2229-A511-4AEC-1044D44AED21}"/>
              </a:ext>
            </a:extLst>
          </p:cNvPr>
          <p:cNvSpPr>
            <a:spLocks/>
          </p:cNvSpPr>
          <p:nvPr>
            <p:custDataLst>
              <p:tags r:id="rId14"/>
            </p:custDataLst>
          </p:nvPr>
        </p:nvSpPr>
        <p:spPr bwMode="gray">
          <a:xfrm>
            <a:off x="776288" y="27701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3B06E345-E3BD-4B44-8C2F-198FD727A400}" type="datetime'''1''''''''''1''0'''''">
              <a:rPr lang="en-GB" altLang="en-US" sz="900" b="0" smtClean="0">
                <a:solidFill>
                  <a:srgbClr val="ACAEB1"/>
                </a:solidFill>
                <a:effectLst/>
                <a:latin typeface="Century Schoolbook (Body)"/>
              </a:rPr>
              <a:pPr lvl="0" algn="r">
                <a:spcBef>
                  <a:spcPct val="0"/>
                </a:spcBef>
                <a:spcAft>
                  <a:spcPct val="0"/>
                </a:spcAft>
              </a:pPr>
              <a:t>110</a:t>
            </a:fld>
            <a:endParaRPr lang="en-GB" sz="900" b="0" dirty="0">
              <a:solidFill>
                <a:srgbClr val="ACAEB1"/>
              </a:solidFill>
              <a:latin typeface="Century Schoolbook (Body)"/>
            </a:endParaRPr>
          </a:p>
        </p:txBody>
      </p:sp>
      <p:sp>
        <p:nvSpPr>
          <p:cNvPr id="261" name="Text Placeholder 2">
            <a:extLst>
              <a:ext uri="{FF2B5EF4-FFF2-40B4-BE49-F238E27FC236}">
                <a16:creationId xmlns:a16="http://schemas.microsoft.com/office/drawing/2014/main" id="{B50FBA92-1A33-6255-0E0D-91ED7093C9B5}"/>
              </a:ext>
            </a:extLst>
          </p:cNvPr>
          <p:cNvSpPr>
            <a:spLocks/>
          </p:cNvSpPr>
          <p:nvPr>
            <p:custDataLst>
              <p:tags r:id="rId15"/>
            </p:custDataLst>
          </p:nvPr>
        </p:nvSpPr>
        <p:spPr bwMode="gray">
          <a:xfrm>
            <a:off x="776288" y="25415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2B1D37F9-36E7-4C48-AA58-1FC0A426A078}" type="datetime'''''''''''''''''''''1''''20'''''">
              <a:rPr lang="en-GB" altLang="en-US" sz="900" b="0" smtClean="0">
                <a:solidFill>
                  <a:srgbClr val="ACAEB1"/>
                </a:solidFill>
                <a:effectLst/>
                <a:latin typeface="Century Schoolbook (Body)"/>
              </a:rPr>
              <a:pPr lvl="0" algn="r">
                <a:spcBef>
                  <a:spcPct val="0"/>
                </a:spcBef>
                <a:spcAft>
                  <a:spcPct val="0"/>
                </a:spcAft>
              </a:pPr>
              <a:t>120</a:t>
            </a:fld>
            <a:endParaRPr lang="en-GB" sz="900" b="0" dirty="0">
              <a:solidFill>
                <a:srgbClr val="ACAEB1"/>
              </a:solidFill>
              <a:latin typeface="Century Schoolbook (Body)"/>
            </a:endParaRPr>
          </a:p>
        </p:txBody>
      </p:sp>
      <p:sp>
        <p:nvSpPr>
          <p:cNvPr id="262" name="Text Placeholder 2">
            <a:extLst>
              <a:ext uri="{FF2B5EF4-FFF2-40B4-BE49-F238E27FC236}">
                <a16:creationId xmlns:a16="http://schemas.microsoft.com/office/drawing/2014/main" id="{5632090E-D186-193F-4176-2FFDB8ECE966}"/>
              </a:ext>
            </a:extLst>
          </p:cNvPr>
          <p:cNvSpPr>
            <a:spLocks/>
          </p:cNvSpPr>
          <p:nvPr>
            <p:custDataLst>
              <p:tags r:id="rId16"/>
            </p:custDataLst>
          </p:nvPr>
        </p:nvSpPr>
        <p:spPr bwMode="gray">
          <a:xfrm>
            <a:off x="776288" y="23129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336D5742-D74F-43BF-8A4F-05F9F323C890}" type="datetime'''''''''''''''''''''130'''''''''''''''''''''">
              <a:rPr lang="en-GB" altLang="en-US" sz="900" b="0" smtClean="0">
                <a:solidFill>
                  <a:srgbClr val="ACAEB1"/>
                </a:solidFill>
                <a:effectLst/>
                <a:latin typeface="Century Schoolbook (Body)"/>
              </a:rPr>
              <a:pPr lvl="0" algn="r">
                <a:spcBef>
                  <a:spcPct val="0"/>
                </a:spcBef>
                <a:spcAft>
                  <a:spcPct val="0"/>
                </a:spcAft>
              </a:pPr>
              <a:t>130</a:t>
            </a:fld>
            <a:endParaRPr lang="en-GB" sz="900" b="0" dirty="0">
              <a:solidFill>
                <a:srgbClr val="ACAEB1"/>
              </a:solidFill>
              <a:latin typeface="Century Schoolbook (Body)"/>
            </a:endParaRPr>
          </a:p>
        </p:txBody>
      </p:sp>
      <p:sp>
        <p:nvSpPr>
          <p:cNvPr id="263" name="Text Placeholder 2">
            <a:extLst>
              <a:ext uri="{FF2B5EF4-FFF2-40B4-BE49-F238E27FC236}">
                <a16:creationId xmlns:a16="http://schemas.microsoft.com/office/drawing/2014/main" id="{EB043875-874E-BC94-F438-F39A2F24773B}"/>
              </a:ext>
            </a:extLst>
          </p:cNvPr>
          <p:cNvSpPr>
            <a:spLocks/>
          </p:cNvSpPr>
          <p:nvPr>
            <p:custDataLst>
              <p:tags r:id="rId17"/>
            </p:custDataLst>
          </p:nvPr>
        </p:nvSpPr>
        <p:spPr bwMode="gray">
          <a:xfrm>
            <a:off x="776288" y="208597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D1E847A9-694C-4BE7-A795-30E5AAF64E73}" type="datetime'''''''''''''''''''''''''1''4''''''''''''''''''''''0'">
              <a:rPr lang="en-GB" altLang="en-US" sz="900" b="0" smtClean="0">
                <a:solidFill>
                  <a:srgbClr val="ACAEB1"/>
                </a:solidFill>
                <a:effectLst/>
                <a:latin typeface="Century Schoolbook (Body)"/>
              </a:rPr>
              <a:pPr lvl="0" algn="r">
                <a:spcBef>
                  <a:spcPct val="0"/>
                </a:spcBef>
                <a:spcAft>
                  <a:spcPct val="0"/>
                </a:spcAft>
              </a:pPr>
              <a:t>140</a:t>
            </a:fld>
            <a:endParaRPr lang="en-GB" sz="900" b="0" dirty="0">
              <a:solidFill>
                <a:srgbClr val="ACAEB1"/>
              </a:solidFill>
              <a:latin typeface="Century Schoolbook (Body)"/>
            </a:endParaRPr>
          </a:p>
        </p:txBody>
      </p:sp>
      <p:sp>
        <p:nvSpPr>
          <p:cNvPr id="264" name="Text Placeholder 2">
            <a:extLst>
              <a:ext uri="{FF2B5EF4-FFF2-40B4-BE49-F238E27FC236}">
                <a16:creationId xmlns:a16="http://schemas.microsoft.com/office/drawing/2014/main" id="{22FEE062-7044-E6BC-632E-F263E1C89AA6}"/>
              </a:ext>
            </a:extLst>
          </p:cNvPr>
          <p:cNvSpPr>
            <a:spLocks/>
          </p:cNvSpPr>
          <p:nvPr>
            <p:custDataLst>
              <p:tags r:id="rId18"/>
            </p:custDataLst>
          </p:nvPr>
        </p:nvSpPr>
        <p:spPr bwMode="gray">
          <a:xfrm>
            <a:off x="776288" y="185737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E143C4C4-1EE3-498D-8B41-8276D5B44268}" type="datetime'''''''''''''15''''0'''''''">
              <a:rPr lang="en-GB" altLang="en-US" sz="900" b="0" smtClean="0">
                <a:solidFill>
                  <a:srgbClr val="ACAEB1"/>
                </a:solidFill>
                <a:effectLst/>
                <a:latin typeface="Century Schoolbook (Body)"/>
              </a:rPr>
              <a:pPr lvl="0" algn="r">
                <a:spcBef>
                  <a:spcPct val="0"/>
                </a:spcBef>
                <a:spcAft>
                  <a:spcPct val="0"/>
                </a:spcAft>
              </a:pPr>
              <a:t>150</a:t>
            </a:fld>
            <a:endParaRPr lang="en-GB" sz="900" b="0" dirty="0">
              <a:solidFill>
                <a:srgbClr val="ACAEB1"/>
              </a:solidFill>
              <a:latin typeface="Century Schoolbook (Body)"/>
            </a:endParaRPr>
          </a:p>
        </p:txBody>
      </p:sp>
      <p:sp>
        <p:nvSpPr>
          <p:cNvPr id="265" name="Text Placeholder 2">
            <a:extLst>
              <a:ext uri="{FF2B5EF4-FFF2-40B4-BE49-F238E27FC236}">
                <a16:creationId xmlns:a16="http://schemas.microsoft.com/office/drawing/2014/main" id="{E50D0567-D3C3-2EFE-B625-F6837329EF27}"/>
              </a:ext>
            </a:extLst>
          </p:cNvPr>
          <p:cNvSpPr>
            <a:spLocks/>
          </p:cNvSpPr>
          <p:nvPr>
            <p:custDataLst>
              <p:tags r:id="rId19"/>
            </p:custDataLst>
          </p:nvPr>
        </p:nvSpPr>
        <p:spPr bwMode="gray">
          <a:xfrm>
            <a:off x="776288" y="1628776"/>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r">
              <a:spcBef>
                <a:spcPct val="0"/>
              </a:spcBef>
              <a:spcAft>
                <a:spcPct val="0"/>
              </a:spcAft>
            </a:pPr>
            <a:fld id="{B853E17C-8313-46EB-AFB7-210BC6FA952A}" type="datetime'''''''''''''''''''''''''''1''''''''''6''''''''''0'">
              <a:rPr lang="en-GB" altLang="en-US" sz="900" b="0" smtClean="0">
                <a:solidFill>
                  <a:srgbClr val="ACAEB1"/>
                </a:solidFill>
                <a:effectLst/>
                <a:latin typeface="Century Schoolbook (Body)"/>
              </a:rPr>
              <a:pPr lvl="0" algn="r">
                <a:spcBef>
                  <a:spcPct val="0"/>
                </a:spcBef>
                <a:spcAft>
                  <a:spcPct val="0"/>
                </a:spcAft>
              </a:pPr>
              <a:t>160</a:t>
            </a:fld>
            <a:endParaRPr lang="en-GB" sz="900" b="0" dirty="0">
              <a:solidFill>
                <a:srgbClr val="ACAEB1"/>
              </a:solidFill>
              <a:latin typeface="Century Schoolbook (Body)"/>
            </a:endParaRPr>
          </a:p>
        </p:txBody>
      </p:sp>
      <p:sp>
        <p:nvSpPr>
          <p:cNvPr id="8" name="Text Placeholder 2">
            <a:extLst>
              <a:ext uri="{FF2B5EF4-FFF2-40B4-BE49-F238E27FC236}">
                <a16:creationId xmlns:a16="http://schemas.microsoft.com/office/drawing/2014/main" id="{0AD1C6E0-BC7D-D8A2-20F5-2E7507E4C29A}"/>
              </a:ext>
            </a:extLst>
          </p:cNvPr>
          <p:cNvSpPr>
            <a:spLocks/>
          </p:cNvSpPr>
          <p:nvPr>
            <p:custDataLst>
              <p:tags r:id="rId20"/>
            </p:custDataLst>
          </p:nvPr>
        </p:nvSpPr>
        <p:spPr bwMode="auto">
          <a:xfrm>
            <a:off x="111601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1BE0847-702F-4A55-AA1E-43F05B81D497}"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71" name="Text Placeholder 2">
            <a:extLst>
              <a:ext uri="{FF2B5EF4-FFF2-40B4-BE49-F238E27FC236}">
                <a16:creationId xmlns:a16="http://schemas.microsoft.com/office/drawing/2014/main" id="{6D98E308-895D-0B62-7C46-DE548980966E}"/>
              </a:ext>
            </a:extLst>
          </p:cNvPr>
          <p:cNvSpPr>
            <a:spLocks/>
          </p:cNvSpPr>
          <p:nvPr>
            <p:custDataLst>
              <p:tags r:id="rId21"/>
            </p:custDataLst>
          </p:nvPr>
        </p:nvSpPr>
        <p:spPr bwMode="auto">
          <a:xfrm>
            <a:off x="135413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31FCC92-4B09-4B17-8C4F-2DB98CC0AF2C}"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72" name="Text Placeholder 2">
            <a:extLst>
              <a:ext uri="{FF2B5EF4-FFF2-40B4-BE49-F238E27FC236}">
                <a16:creationId xmlns:a16="http://schemas.microsoft.com/office/drawing/2014/main" id="{9BDAEC59-32AD-F874-24DA-5DEB66EDA6F2}"/>
              </a:ext>
            </a:extLst>
          </p:cNvPr>
          <p:cNvSpPr>
            <a:spLocks/>
          </p:cNvSpPr>
          <p:nvPr>
            <p:custDataLst>
              <p:tags r:id="rId22"/>
            </p:custDataLst>
          </p:nvPr>
        </p:nvSpPr>
        <p:spPr bwMode="auto">
          <a:xfrm>
            <a:off x="159067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0165063-A721-472B-9FC8-391093382F18}"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73" name="Text Placeholder 2">
            <a:extLst>
              <a:ext uri="{FF2B5EF4-FFF2-40B4-BE49-F238E27FC236}">
                <a16:creationId xmlns:a16="http://schemas.microsoft.com/office/drawing/2014/main" id="{F8DA3CB2-E586-4CEF-A9F8-D589B127B5D5}"/>
              </a:ext>
            </a:extLst>
          </p:cNvPr>
          <p:cNvSpPr>
            <a:spLocks/>
          </p:cNvSpPr>
          <p:nvPr>
            <p:custDataLst>
              <p:tags r:id="rId23"/>
            </p:custDataLst>
          </p:nvPr>
        </p:nvSpPr>
        <p:spPr bwMode="auto">
          <a:xfrm>
            <a:off x="182880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DC8C587-8E39-4AF6-9D07-75E5A739C9DE}"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22" name="Text Placeholder 2">
            <a:extLst>
              <a:ext uri="{FF2B5EF4-FFF2-40B4-BE49-F238E27FC236}">
                <a16:creationId xmlns:a16="http://schemas.microsoft.com/office/drawing/2014/main" id="{7AA27B9A-BCD4-8178-5ABD-DFEB2F090481}"/>
              </a:ext>
            </a:extLst>
          </p:cNvPr>
          <p:cNvSpPr>
            <a:spLocks/>
          </p:cNvSpPr>
          <p:nvPr>
            <p:custDataLst>
              <p:tags r:id="rId24"/>
            </p:custDataLst>
          </p:nvPr>
        </p:nvSpPr>
        <p:spPr bwMode="auto">
          <a:xfrm>
            <a:off x="206533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35999E5-19C1-4CAC-991E-7CAC601F90D8}"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74" name="Text Placeholder 2">
            <a:extLst>
              <a:ext uri="{FF2B5EF4-FFF2-40B4-BE49-F238E27FC236}">
                <a16:creationId xmlns:a16="http://schemas.microsoft.com/office/drawing/2014/main" id="{37CCB273-7A14-756B-5892-AEF06F4ADCF5}"/>
              </a:ext>
            </a:extLst>
          </p:cNvPr>
          <p:cNvSpPr>
            <a:spLocks/>
          </p:cNvSpPr>
          <p:nvPr>
            <p:custDataLst>
              <p:tags r:id="rId25"/>
            </p:custDataLst>
          </p:nvPr>
        </p:nvSpPr>
        <p:spPr bwMode="auto">
          <a:xfrm>
            <a:off x="230346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DFE68FB9-AE5E-458A-AD71-84BB6FD6D5F7}"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75" name="Text Placeholder 2">
            <a:extLst>
              <a:ext uri="{FF2B5EF4-FFF2-40B4-BE49-F238E27FC236}">
                <a16:creationId xmlns:a16="http://schemas.microsoft.com/office/drawing/2014/main" id="{151C403D-3890-B5F5-A42A-C4203465B058}"/>
              </a:ext>
            </a:extLst>
          </p:cNvPr>
          <p:cNvSpPr>
            <a:spLocks/>
          </p:cNvSpPr>
          <p:nvPr>
            <p:custDataLst>
              <p:tags r:id="rId26"/>
            </p:custDataLst>
          </p:nvPr>
        </p:nvSpPr>
        <p:spPr bwMode="auto">
          <a:xfrm>
            <a:off x="254000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CCB9342D-3A87-4AA0-892E-5418B815C7B7}"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76" name="Text Placeholder 2">
            <a:extLst>
              <a:ext uri="{FF2B5EF4-FFF2-40B4-BE49-F238E27FC236}">
                <a16:creationId xmlns:a16="http://schemas.microsoft.com/office/drawing/2014/main" id="{95229ADA-FC32-32ED-7779-63190FBD39C3}"/>
              </a:ext>
            </a:extLst>
          </p:cNvPr>
          <p:cNvSpPr>
            <a:spLocks/>
          </p:cNvSpPr>
          <p:nvPr>
            <p:custDataLst>
              <p:tags r:id="rId27"/>
            </p:custDataLst>
          </p:nvPr>
        </p:nvSpPr>
        <p:spPr bwMode="auto">
          <a:xfrm>
            <a:off x="277812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63D92ED-8E97-4351-84BB-B006A2DFC8EF}"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26" name="Text Placeholder 2">
            <a:extLst>
              <a:ext uri="{FF2B5EF4-FFF2-40B4-BE49-F238E27FC236}">
                <a16:creationId xmlns:a16="http://schemas.microsoft.com/office/drawing/2014/main" id="{339872CC-8F1B-3B49-CB3D-DB3DBA68228F}"/>
              </a:ext>
            </a:extLst>
          </p:cNvPr>
          <p:cNvSpPr>
            <a:spLocks/>
          </p:cNvSpPr>
          <p:nvPr>
            <p:custDataLst>
              <p:tags r:id="rId28"/>
            </p:custDataLst>
          </p:nvPr>
        </p:nvSpPr>
        <p:spPr bwMode="auto">
          <a:xfrm>
            <a:off x="301625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1421123B-75CB-4338-A677-91894D1B622A}"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77" name="Text Placeholder 2">
            <a:extLst>
              <a:ext uri="{FF2B5EF4-FFF2-40B4-BE49-F238E27FC236}">
                <a16:creationId xmlns:a16="http://schemas.microsoft.com/office/drawing/2014/main" id="{01A8C516-0E54-0090-6BF0-9A6140B91637}"/>
              </a:ext>
            </a:extLst>
          </p:cNvPr>
          <p:cNvSpPr>
            <a:spLocks/>
          </p:cNvSpPr>
          <p:nvPr>
            <p:custDataLst>
              <p:tags r:id="rId29"/>
            </p:custDataLst>
          </p:nvPr>
        </p:nvSpPr>
        <p:spPr bwMode="auto">
          <a:xfrm>
            <a:off x="325278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5502DFF-6D5D-42EA-8482-E4ABB57BF684}"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78" name="Text Placeholder 2">
            <a:extLst>
              <a:ext uri="{FF2B5EF4-FFF2-40B4-BE49-F238E27FC236}">
                <a16:creationId xmlns:a16="http://schemas.microsoft.com/office/drawing/2014/main" id="{0126B1AA-E307-C141-BFD2-19AC4FA4F4B7}"/>
              </a:ext>
            </a:extLst>
          </p:cNvPr>
          <p:cNvSpPr>
            <a:spLocks/>
          </p:cNvSpPr>
          <p:nvPr>
            <p:custDataLst>
              <p:tags r:id="rId30"/>
            </p:custDataLst>
          </p:nvPr>
        </p:nvSpPr>
        <p:spPr bwMode="auto">
          <a:xfrm>
            <a:off x="349091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5002770-B95E-4383-B96E-36D06E9D3107}"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79" name="Text Placeholder 2">
            <a:extLst>
              <a:ext uri="{FF2B5EF4-FFF2-40B4-BE49-F238E27FC236}">
                <a16:creationId xmlns:a16="http://schemas.microsoft.com/office/drawing/2014/main" id="{9FD1B112-11AD-D5B3-8D09-2F3E19B76AC6}"/>
              </a:ext>
            </a:extLst>
          </p:cNvPr>
          <p:cNvSpPr>
            <a:spLocks/>
          </p:cNvSpPr>
          <p:nvPr>
            <p:custDataLst>
              <p:tags r:id="rId31"/>
            </p:custDataLst>
          </p:nvPr>
        </p:nvSpPr>
        <p:spPr bwMode="auto">
          <a:xfrm>
            <a:off x="372745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471FD95-02F8-456F-99FF-E69B8F41E9C1}"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30" name="Text Placeholder 2">
            <a:extLst>
              <a:ext uri="{FF2B5EF4-FFF2-40B4-BE49-F238E27FC236}">
                <a16:creationId xmlns:a16="http://schemas.microsoft.com/office/drawing/2014/main" id="{2D9F7C68-62C3-EC85-4D86-9B7FC2587239}"/>
              </a:ext>
            </a:extLst>
          </p:cNvPr>
          <p:cNvSpPr>
            <a:spLocks/>
          </p:cNvSpPr>
          <p:nvPr>
            <p:custDataLst>
              <p:tags r:id="rId32"/>
            </p:custDataLst>
          </p:nvPr>
        </p:nvSpPr>
        <p:spPr bwMode="auto">
          <a:xfrm>
            <a:off x="396557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210798A-D54D-47D0-83BD-86CAFF417AF6}"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80" name="Text Placeholder 2">
            <a:extLst>
              <a:ext uri="{FF2B5EF4-FFF2-40B4-BE49-F238E27FC236}">
                <a16:creationId xmlns:a16="http://schemas.microsoft.com/office/drawing/2014/main" id="{F0BB14BA-0591-37DD-3898-66337F69DB41}"/>
              </a:ext>
            </a:extLst>
          </p:cNvPr>
          <p:cNvSpPr>
            <a:spLocks/>
          </p:cNvSpPr>
          <p:nvPr>
            <p:custDataLst>
              <p:tags r:id="rId33"/>
            </p:custDataLst>
          </p:nvPr>
        </p:nvSpPr>
        <p:spPr bwMode="auto">
          <a:xfrm>
            <a:off x="420370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42B93EB-2B53-4968-8E53-D12B079B7205}"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81" name="Text Placeholder 2">
            <a:extLst>
              <a:ext uri="{FF2B5EF4-FFF2-40B4-BE49-F238E27FC236}">
                <a16:creationId xmlns:a16="http://schemas.microsoft.com/office/drawing/2014/main" id="{55D0E9BC-DD6C-2A8D-C0AC-C3FCB2B8D007}"/>
              </a:ext>
            </a:extLst>
          </p:cNvPr>
          <p:cNvSpPr>
            <a:spLocks/>
          </p:cNvSpPr>
          <p:nvPr>
            <p:custDataLst>
              <p:tags r:id="rId34"/>
            </p:custDataLst>
          </p:nvPr>
        </p:nvSpPr>
        <p:spPr bwMode="auto">
          <a:xfrm>
            <a:off x="444023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CCCD73F-84DD-432F-A000-0AA52FF670F5}"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82" name="Text Placeholder 2">
            <a:extLst>
              <a:ext uri="{FF2B5EF4-FFF2-40B4-BE49-F238E27FC236}">
                <a16:creationId xmlns:a16="http://schemas.microsoft.com/office/drawing/2014/main" id="{D98C3B51-A20B-D3FD-654B-6130E54D50C6}"/>
              </a:ext>
            </a:extLst>
          </p:cNvPr>
          <p:cNvSpPr>
            <a:spLocks/>
          </p:cNvSpPr>
          <p:nvPr>
            <p:custDataLst>
              <p:tags r:id="rId35"/>
            </p:custDataLst>
          </p:nvPr>
        </p:nvSpPr>
        <p:spPr bwMode="auto">
          <a:xfrm>
            <a:off x="467836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3D68687-63C6-4F57-A579-D58623A3BC6F}"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2" name="Text Placeholder 2">
            <a:extLst>
              <a:ext uri="{FF2B5EF4-FFF2-40B4-BE49-F238E27FC236}">
                <a16:creationId xmlns:a16="http://schemas.microsoft.com/office/drawing/2014/main" id="{B4E6F2A5-B8AB-23B3-A6F6-02EC0DEE0E4D}"/>
              </a:ext>
            </a:extLst>
          </p:cNvPr>
          <p:cNvSpPr>
            <a:spLocks/>
          </p:cNvSpPr>
          <p:nvPr>
            <p:custDataLst>
              <p:tags r:id="rId36"/>
            </p:custDataLst>
          </p:nvPr>
        </p:nvSpPr>
        <p:spPr bwMode="auto">
          <a:xfrm>
            <a:off x="491490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282BBB8-6D8F-4587-B1BC-05A9CB60A7D3}"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83" name="Text Placeholder 2">
            <a:extLst>
              <a:ext uri="{FF2B5EF4-FFF2-40B4-BE49-F238E27FC236}">
                <a16:creationId xmlns:a16="http://schemas.microsoft.com/office/drawing/2014/main" id="{05FF624C-5CAC-BDDD-9727-ADCE304B1CF1}"/>
              </a:ext>
            </a:extLst>
          </p:cNvPr>
          <p:cNvSpPr>
            <a:spLocks/>
          </p:cNvSpPr>
          <p:nvPr>
            <p:custDataLst>
              <p:tags r:id="rId37"/>
            </p:custDataLst>
          </p:nvPr>
        </p:nvSpPr>
        <p:spPr bwMode="auto">
          <a:xfrm>
            <a:off x="515302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0111D0F-707A-44ED-8C13-3262699EEFB4}"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84" name="Text Placeholder 2">
            <a:extLst>
              <a:ext uri="{FF2B5EF4-FFF2-40B4-BE49-F238E27FC236}">
                <a16:creationId xmlns:a16="http://schemas.microsoft.com/office/drawing/2014/main" id="{8F38FC7B-FE7A-E1B3-ADE9-DDDB318DD071}"/>
              </a:ext>
            </a:extLst>
          </p:cNvPr>
          <p:cNvSpPr>
            <a:spLocks/>
          </p:cNvSpPr>
          <p:nvPr>
            <p:custDataLst>
              <p:tags r:id="rId38"/>
            </p:custDataLst>
          </p:nvPr>
        </p:nvSpPr>
        <p:spPr bwMode="auto">
          <a:xfrm>
            <a:off x="538956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F45D085F-63B0-4457-A6F0-A85F1F7E076E}"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85" name="Text Placeholder 2">
            <a:extLst>
              <a:ext uri="{FF2B5EF4-FFF2-40B4-BE49-F238E27FC236}">
                <a16:creationId xmlns:a16="http://schemas.microsoft.com/office/drawing/2014/main" id="{A7F64F0A-7CBD-D2C7-D908-6AAC3D313415}"/>
              </a:ext>
            </a:extLst>
          </p:cNvPr>
          <p:cNvSpPr>
            <a:spLocks/>
          </p:cNvSpPr>
          <p:nvPr>
            <p:custDataLst>
              <p:tags r:id="rId39"/>
            </p:custDataLst>
          </p:nvPr>
        </p:nvSpPr>
        <p:spPr bwMode="auto">
          <a:xfrm>
            <a:off x="562768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5FC2887-3F7D-4DFE-A862-3AAA2F6B6D93}"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3" name="Text Placeholder 2">
            <a:extLst>
              <a:ext uri="{FF2B5EF4-FFF2-40B4-BE49-F238E27FC236}">
                <a16:creationId xmlns:a16="http://schemas.microsoft.com/office/drawing/2014/main" id="{864A5BBE-4AA3-F012-E1B1-9B53E2748010}"/>
              </a:ext>
            </a:extLst>
          </p:cNvPr>
          <p:cNvSpPr>
            <a:spLocks/>
          </p:cNvSpPr>
          <p:nvPr>
            <p:custDataLst>
              <p:tags r:id="rId40"/>
            </p:custDataLst>
          </p:nvPr>
        </p:nvSpPr>
        <p:spPr bwMode="auto">
          <a:xfrm>
            <a:off x="586581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FB26BE6-CE95-4D75-A0D5-A0BDCB455D4B}"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86" name="Text Placeholder 2">
            <a:extLst>
              <a:ext uri="{FF2B5EF4-FFF2-40B4-BE49-F238E27FC236}">
                <a16:creationId xmlns:a16="http://schemas.microsoft.com/office/drawing/2014/main" id="{15E98657-520E-BE28-7A30-EAF49C5A9014}"/>
              </a:ext>
            </a:extLst>
          </p:cNvPr>
          <p:cNvSpPr>
            <a:spLocks/>
          </p:cNvSpPr>
          <p:nvPr>
            <p:custDataLst>
              <p:tags r:id="rId41"/>
            </p:custDataLst>
          </p:nvPr>
        </p:nvSpPr>
        <p:spPr bwMode="auto">
          <a:xfrm>
            <a:off x="610235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3D704233-8805-43DB-A3E0-91FFCF1A41AC}"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87" name="Text Placeholder 2">
            <a:extLst>
              <a:ext uri="{FF2B5EF4-FFF2-40B4-BE49-F238E27FC236}">
                <a16:creationId xmlns:a16="http://schemas.microsoft.com/office/drawing/2014/main" id="{C988214F-7906-C788-0E50-DCDF9993A6AE}"/>
              </a:ext>
            </a:extLst>
          </p:cNvPr>
          <p:cNvSpPr>
            <a:spLocks/>
          </p:cNvSpPr>
          <p:nvPr>
            <p:custDataLst>
              <p:tags r:id="rId42"/>
            </p:custDataLst>
          </p:nvPr>
        </p:nvSpPr>
        <p:spPr bwMode="auto">
          <a:xfrm>
            <a:off x="634047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0049A76-E0F9-47DD-8409-60E7FB81A8F5}"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88" name="Text Placeholder 2">
            <a:extLst>
              <a:ext uri="{FF2B5EF4-FFF2-40B4-BE49-F238E27FC236}">
                <a16:creationId xmlns:a16="http://schemas.microsoft.com/office/drawing/2014/main" id="{75C7CEC7-DCF7-4BF6-5F67-66E3551E80D5}"/>
              </a:ext>
            </a:extLst>
          </p:cNvPr>
          <p:cNvSpPr>
            <a:spLocks/>
          </p:cNvSpPr>
          <p:nvPr>
            <p:custDataLst>
              <p:tags r:id="rId43"/>
            </p:custDataLst>
          </p:nvPr>
        </p:nvSpPr>
        <p:spPr bwMode="auto">
          <a:xfrm>
            <a:off x="657701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86A117F-9E80-454D-A108-5203F3A09DF4}"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4" name="Text Placeholder 2">
            <a:extLst>
              <a:ext uri="{FF2B5EF4-FFF2-40B4-BE49-F238E27FC236}">
                <a16:creationId xmlns:a16="http://schemas.microsoft.com/office/drawing/2014/main" id="{7120706B-CA92-8729-1326-BEA06EFB3106}"/>
              </a:ext>
            </a:extLst>
          </p:cNvPr>
          <p:cNvSpPr>
            <a:spLocks/>
          </p:cNvSpPr>
          <p:nvPr>
            <p:custDataLst>
              <p:tags r:id="rId44"/>
            </p:custDataLst>
          </p:nvPr>
        </p:nvSpPr>
        <p:spPr bwMode="auto">
          <a:xfrm>
            <a:off x="6799263" y="53863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D22FE921-D046-4B0E-8EB4-2719592F685D}" type="datetime'''''''''''''''Q''''''''''1'''''''''''''''''''''' '''''''''''">
              <a:rPr lang="en-GB" altLang="en-US" sz="900" b="0" smtClean="0">
                <a:solidFill>
                  <a:srgbClr val="ACAEB1"/>
                </a:solidFill>
                <a:latin typeface="Century Schoolbook (Body)"/>
              </a:rPr>
              <a:pPr lvl="0" algn="ctr">
                <a:spcBef>
                  <a:spcPct val="0"/>
                </a:spcBef>
                <a:spcAft>
                  <a:spcPct val="0"/>
                </a:spcAft>
              </a:pPr>
              <a:t>Q1 </a:t>
            </a:fld>
            <a:endParaRPr lang="en-GB" sz="900" b="0" dirty="0">
              <a:solidFill>
                <a:srgbClr val="ACAEB1"/>
              </a:solidFill>
              <a:latin typeface="Century Schoolbook (Body)"/>
              <a:sym typeface="Century Schoolbook (Body)"/>
            </a:endParaRPr>
          </a:p>
        </p:txBody>
      </p:sp>
      <p:sp>
        <p:nvSpPr>
          <p:cNvPr id="289" name="Text Placeholder 2">
            <a:extLst>
              <a:ext uri="{FF2B5EF4-FFF2-40B4-BE49-F238E27FC236}">
                <a16:creationId xmlns:a16="http://schemas.microsoft.com/office/drawing/2014/main" id="{92C9617C-F70C-F8DE-6338-33B3AB0771E4}"/>
              </a:ext>
            </a:extLst>
          </p:cNvPr>
          <p:cNvSpPr>
            <a:spLocks/>
          </p:cNvSpPr>
          <p:nvPr>
            <p:custDataLst>
              <p:tags r:id="rId45"/>
            </p:custDataLst>
          </p:nvPr>
        </p:nvSpPr>
        <p:spPr bwMode="auto">
          <a:xfrm>
            <a:off x="705167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5AFCD44-8C74-41A3-BDE1-DDDC4E6760C9}"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90" name="Text Placeholder 2">
            <a:extLst>
              <a:ext uri="{FF2B5EF4-FFF2-40B4-BE49-F238E27FC236}">
                <a16:creationId xmlns:a16="http://schemas.microsoft.com/office/drawing/2014/main" id="{21FE344A-AEEE-A1DF-195E-C7679D8D0E95}"/>
              </a:ext>
            </a:extLst>
          </p:cNvPr>
          <p:cNvSpPr>
            <a:spLocks/>
          </p:cNvSpPr>
          <p:nvPr>
            <p:custDataLst>
              <p:tags r:id="rId46"/>
            </p:custDataLst>
          </p:nvPr>
        </p:nvSpPr>
        <p:spPr bwMode="auto">
          <a:xfrm>
            <a:off x="728980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5318CF9-6AE2-4742-86E6-B3F03DCC7BF4}"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91" name="Text Placeholder 2">
            <a:extLst>
              <a:ext uri="{FF2B5EF4-FFF2-40B4-BE49-F238E27FC236}">
                <a16:creationId xmlns:a16="http://schemas.microsoft.com/office/drawing/2014/main" id="{8541EE09-AB65-3229-E922-A20452000B6E}"/>
              </a:ext>
            </a:extLst>
          </p:cNvPr>
          <p:cNvSpPr>
            <a:spLocks/>
          </p:cNvSpPr>
          <p:nvPr>
            <p:custDataLst>
              <p:tags r:id="rId47"/>
            </p:custDataLst>
          </p:nvPr>
        </p:nvSpPr>
        <p:spPr bwMode="auto">
          <a:xfrm>
            <a:off x="752792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EE366FB-380D-4C2A-A530-F6A3A7E97498}"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5" name="Text Placeholder 2">
            <a:extLst>
              <a:ext uri="{FF2B5EF4-FFF2-40B4-BE49-F238E27FC236}">
                <a16:creationId xmlns:a16="http://schemas.microsoft.com/office/drawing/2014/main" id="{F54CAA42-5EB4-18FD-34CB-826AE938F7B9}"/>
              </a:ext>
            </a:extLst>
          </p:cNvPr>
          <p:cNvSpPr>
            <a:spLocks/>
          </p:cNvSpPr>
          <p:nvPr>
            <p:custDataLst>
              <p:tags r:id="rId48"/>
            </p:custDataLst>
          </p:nvPr>
        </p:nvSpPr>
        <p:spPr bwMode="auto">
          <a:xfrm>
            <a:off x="7748588" y="53863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B0C36CE-D7FF-47DA-9AC1-C99E2F6C22F9}" type="datetime'''''''Q''''1'''''''''''''''''''''''''''''' '">
              <a:rPr lang="en-GB" altLang="en-US" sz="900" b="0" smtClean="0">
                <a:solidFill>
                  <a:srgbClr val="ACAEB1"/>
                </a:solidFill>
                <a:latin typeface="Century Schoolbook (Body)"/>
              </a:rPr>
              <a:pPr lvl="0" algn="ctr">
                <a:spcBef>
                  <a:spcPct val="0"/>
                </a:spcBef>
                <a:spcAft>
                  <a:spcPct val="0"/>
                </a:spcAft>
              </a:pPr>
              <a:t>Q1 </a:t>
            </a:fld>
            <a:endParaRPr lang="en-GB" sz="900" b="0" dirty="0">
              <a:solidFill>
                <a:srgbClr val="ACAEB1"/>
              </a:solidFill>
              <a:latin typeface="Century Schoolbook (Body)"/>
              <a:sym typeface="Century Schoolbook (Body)"/>
            </a:endParaRPr>
          </a:p>
        </p:txBody>
      </p:sp>
      <p:sp>
        <p:nvSpPr>
          <p:cNvPr id="213" name="Text Placeholder 2">
            <a:extLst>
              <a:ext uri="{FF2B5EF4-FFF2-40B4-BE49-F238E27FC236}">
                <a16:creationId xmlns:a16="http://schemas.microsoft.com/office/drawing/2014/main" id="{C973C702-6FCF-3363-A06C-8B507F287ACB}"/>
              </a:ext>
            </a:extLst>
          </p:cNvPr>
          <p:cNvSpPr>
            <a:spLocks/>
          </p:cNvSpPr>
          <p:nvPr>
            <p:custDataLst>
              <p:tags r:id="rId49"/>
            </p:custDataLst>
          </p:nvPr>
        </p:nvSpPr>
        <p:spPr bwMode="auto">
          <a:xfrm>
            <a:off x="993775" y="14335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r>
              <a:rPr lang="en-GB" altLang="en-US" sz="900" dirty="0">
                <a:effectLst/>
                <a:latin typeface="Century Schoolbook (Body)"/>
                <a:sym typeface="Century Schoolbook (Body)"/>
              </a:rPr>
              <a:t>£m</a:t>
            </a:r>
            <a:endParaRPr lang="en-GB" sz="900" dirty="0">
              <a:latin typeface="Century Schoolbook (Body)"/>
              <a:sym typeface="Century Schoolbook (Body)"/>
            </a:endParaRPr>
          </a:p>
        </p:txBody>
      </p:sp>
      <p:sp>
        <p:nvSpPr>
          <p:cNvPr id="293" name="Text Placeholder 2">
            <a:extLst>
              <a:ext uri="{FF2B5EF4-FFF2-40B4-BE49-F238E27FC236}">
                <a16:creationId xmlns:a16="http://schemas.microsoft.com/office/drawing/2014/main" id="{F7F3CC04-C69A-9B1E-930C-828B4779ECE1}"/>
              </a:ext>
            </a:extLst>
          </p:cNvPr>
          <p:cNvSpPr>
            <a:spLocks/>
          </p:cNvSpPr>
          <p:nvPr>
            <p:custDataLst>
              <p:tags r:id="rId50"/>
            </p:custDataLst>
          </p:nvPr>
        </p:nvSpPr>
        <p:spPr bwMode="auto">
          <a:xfrm>
            <a:off x="823912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A71E37E-589D-4B9F-B274-3DCCB3F3B09A}"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94" name="Text Placeholder 2">
            <a:extLst>
              <a:ext uri="{FF2B5EF4-FFF2-40B4-BE49-F238E27FC236}">
                <a16:creationId xmlns:a16="http://schemas.microsoft.com/office/drawing/2014/main" id="{C8550961-A452-EBDC-364E-43FFF6883F3F}"/>
              </a:ext>
            </a:extLst>
          </p:cNvPr>
          <p:cNvSpPr>
            <a:spLocks/>
          </p:cNvSpPr>
          <p:nvPr>
            <p:custDataLst>
              <p:tags r:id="rId51"/>
            </p:custDataLst>
          </p:nvPr>
        </p:nvSpPr>
        <p:spPr bwMode="auto">
          <a:xfrm>
            <a:off x="847725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DD01983-75FB-4767-B260-E4EC375B9466}"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6" name="Text Placeholder 2">
            <a:extLst>
              <a:ext uri="{FF2B5EF4-FFF2-40B4-BE49-F238E27FC236}">
                <a16:creationId xmlns:a16="http://schemas.microsoft.com/office/drawing/2014/main" id="{481257C3-CEE6-BBCF-6BBA-ADA93E304105}"/>
              </a:ext>
            </a:extLst>
          </p:cNvPr>
          <p:cNvSpPr>
            <a:spLocks/>
          </p:cNvSpPr>
          <p:nvPr>
            <p:custDataLst>
              <p:tags r:id="rId52"/>
            </p:custDataLst>
          </p:nvPr>
        </p:nvSpPr>
        <p:spPr bwMode="auto">
          <a:xfrm>
            <a:off x="8697913" y="53863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A04558C-CFDA-4C79-9FC4-D6749E26A5D8}" type="datetime'''''''''''''''Q''''''1'''''''''''''''''''''''''''''' '">
              <a:rPr lang="en-GB" altLang="en-US" sz="900" b="0" smtClean="0">
                <a:solidFill>
                  <a:srgbClr val="ACAEB1"/>
                </a:solidFill>
                <a:latin typeface="Century Schoolbook (Body)"/>
              </a:rPr>
              <a:pPr lvl="0" algn="ctr">
                <a:spcBef>
                  <a:spcPct val="0"/>
                </a:spcBef>
                <a:spcAft>
                  <a:spcPct val="0"/>
                </a:spcAft>
              </a:pPr>
              <a:t>Q1 </a:t>
            </a:fld>
            <a:endParaRPr lang="en-GB" sz="900" b="0" dirty="0">
              <a:solidFill>
                <a:srgbClr val="ACAEB1"/>
              </a:solidFill>
              <a:latin typeface="Century Schoolbook (Body)"/>
              <a:sym typeface="Century Schoolbook (Body)"/>
            </a:endParaRPr>
          </a:p>
        </p:txBody>
      </p:sp>
      <p:sp>
        <p:nvSpPr>
          <p:cNvPr id="295" name="Text Placeholder 2">
            <a:extLst>
              <a:ext uri="{FF2B5EF4-FFF2-40B4-BE49-F238E27FC236}">
                <a16:creationId xmlns:a16="http://schemas.microsoft.com/office/drawing/2014/main" id="{9B4EAF86-E20D-AF08-962F-CCD5BDDEBBB3}"/>
              </a:ext>
            </a:extLst>
          </p:cNvPr>
          <p:cNvSpPr>
            <a:spLocks/>
          </p:cNvSpPr>
          <p:nvPr>
            <p:custDataLst>
              <p:tags r:id="rId53"/>
            </p:custDataLst>
          </p:nvPr>
        </p:nvSpPr>
        <p:spPr bwMode="auto">
          <a:xfrm>
            <a:off x="895191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A98C9119-941D-4FB9-A1F9-73AE5E61ED0A}"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96" name="Text Placeholder 2">
            <a:extLst>
              <a:ext uri="{FF2B5EF4-FFF2-40B4-BE49-F238E27FC236}">
                <a16:creationId xmlns:a16="http://schemas.microsoft.com/office/drawing/2014/main" id="{F86FC8B1-DFD6-4465-F35B-7E521611A356}"/>
              </a:ext>
            </a:extLst>
          </p:cNvPr>
          <p:cNvSpPr>
            <a:spLocks/>
          </p:cNvSpPr>
          <p:nvPr>
            <p:custDataLst>
              <p:tags r:id="rId54"/>
            </p:custDataLst>
          </p:nvPr>
        </p:nvSpPr>
        <p:spPr bwMode="auto">
          <a:xfrm>
            <a:off x="919003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EA0334AF-07DC-455D-A7A6-9CDA187270C9}"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297" name="Text Placeholder 2">
            <a:extLst>
              <a:ext uri="{FF2B5EF4-FFF2-40B4-BE49-F238E27FC236}">
                <a16:creationId xmlns:a16="http://schemas.microsoft.com/office/drawing/2014/main" id="{F119BDD2-D2D0-576C-8CA3-EEA10AB9D7A2}"/>
              </a:ext>
            </a:extLst>
          </p:cNvPr>
          <p:cNvSpPr>
            <a:spLocks/>
          </p:cNvSpPr>
          <p:nvPr>
            <p:custDataLst>
              <p:tags r:id="rId55"/>
            </p:custDataLst>
          </p:nvPr>
        </p:nvSpPr>
        <p:spPr bwMode="auto">
          <a:xfrm>
            <a:off x="942657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CDDABC8-123B-4F18-8236-0451CD406AB8}"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7" name="Text Placeholder 2">
            <a:extLst>
              <a:ext uri="{FF2B5EF4-FFF2-40B4-BE49-F238E27FC236}">
                <a16:creationId xmlns:a16="http://schemas.microsoft.com/office/drawing/2014/main" id="{AF7932FC-04F6-524C-6334-7436294C5B35}"/>
              </a:ext>
            </a:extLst>
          </p:cNvPr>
          <p:cNvSpPr>
            <a:spLocks/>
          </p:cNvSpPr>
          <p:nvPr>
            <p:custDataLst>
              <p:tags r:id="rId56"/>
            </p:custDataLst>
          </p:nvPr>
        </p:nvSpPr>
        <p:spPr bwMode="auto">
          <a:xfrm>
            <a:off x="966470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9006934F-6424-4968-8D71-27F190BD1C3D}"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92" name="Text Placeholder 2">
            <a:extLst>
              <a:ext uri="{FF2B5EF4-FFF2-40B4-BE49-F238E27FC236}">
                <a16:creationId xmlns:a16="http://schemas.microsoft.com/office/drawing/2014/main" id="{6E7175F3-FC50-23CF-E353-579ADE8057D6}"/>
              </a:ext>
            </a:extLst>
          </p:cNvPr>
          <p:cNvSpPr>
            <a:spLocks/>
          </p:cNvSpPr>
          <p:nvPr>
            <p:custDataLst>
              <p:tags r:id="rId57"/>
            </p:custDataLst>
          </p:nvPr>
        </p:nvSpPr>
        <p:spPr bwMode="auto">
          <a:xfrm>
            <a:off x="800258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17F1C61-620E-49C9-9E2E-15E701F96F60}"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299" name="Text Placeholder 2">
            <a:extLst>
              <a:ext uri="{FF2B5EF4-FFF2-40B4-BE49-F238E27FC236}">
                <a16:creationId xmlns:a16="http://schemas.microsoft.com/office/drawing/2014/main" id="{50694437-927B-0636-6DDA-A105AFA3ED83}"/>
              </a:ext>
            </a:extLst>
          </p:cNvPr>
          <p:cNvSpPr>
            <a:spLocks/>
          </p:cNvSpPr>
          <p:nvPr>
            <p:custDataLst>
              <p:tags r:id="rId58"/>
            </p:custDataLst>
          </p:nvPr>
        </p:nvSpPr>
        <p:spPr bwMode="auto">
          <a:xfrm>
            <a:off x="1013936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20E0167E-2CBD-45D9-856E-652646D5E051}"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300" name="Text Placeholder 2">
            <a:extLst>
              <a:ext uri="{FF2B5EF4-FFF2-40B4-BE49-F238E27FC236}">
                <a16:creationId xmlns:a16="http://schemas.microsoft.com/office/drawing/2014/main" id="{79FCF52F-58AB-7E25-A37A-18F8CA8B4BAB}"/>
              </a:ext>
            </a:extLst>
          </p:cNvPr>
          <p:cNvSpPr>
            <a:spLocks/>
          </p:cNvSpPr>
          <p:nvPr>
            <p:custDataLst>
              <p:tags r:id="rId59"/>
            </p:custDataLst>
          </p:nvPr>
        </p:nvSpPr>
        <p:spPr bwMode="auto">
          <a:xfrm>
            <a:off x="1037748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EF117A8-A786-43AE-B249-166D9B69817C}"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18" name="Text Placeholder 2">
            <a:extLst>
              <a:ext uri="{FF2B5EF4-FFF2-40B4-BE49-F238E27FC236}">
                <a16:creationId xmlns:a16="http://schemas.microsoft.com/office/drawing/2014/main" id="{5BE61FC1-A055-186B-5AA5-922C2339AE61}"/>
              </a:ext>
            </a:extLst>
          </p:cNvPr>
          <p:cNvSpPr>
            <a:spLocks/>
          </p:cNvSpPr>
          <p:nvPr>
            <p:custDataLst>
              <p:tags r:id="rId60"/>
            </p:custDataLst>
          </p:nvPr>
        </p:nvSpPr>
        <p:spPr bwMode="auto">
          <a:xfrm>
            <a:off x="10614025"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4905E320-3ACB-4B3A-89FA-23639EA81B34}"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301" name="Text Placeholder 2">
            <a:extLst>
              <a:ext uri="{FF2B5EF4-FFF2-40B4-BE49-F238E27FC236}">
                <a16:creationId xmlns:a16="http://schemas.microsoft.com/office/drawing/2014/main" id="{A00021FA-BA3F-B125-3430-EDE1666BCCB2}"/>
              </a:ext>
            </a:extLst>
          </p:cNvPr>
          <p:cNvSpPr>
            <a:spLocks/>
          </p:cNvSpPr>
          <p:nvPr>
            <p:custDataLst>
              <p:tags r:id="rId61"/>
            </p:custDataLst>
          </p:nvPr>
        </p:nvSpPr>
        <p:spPr bwMode="auto">
          <a:xfrm>
            <a:off x="1085215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B833D672-CCF8-4E54-999D-C278F798F482}"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302" name="Text Placeholder 2">
            <a:extLst>
              <a:ext uri="{FF2B5EF4-FFF2-40B4-BE49-F238E27FC236}">
                <a16:creationId xmlns:a16="http://schemas.microsoft.com/office/drawing/2014/main" id="{29ECAD53-1044-DB24-3CF9-7078BBECA2ED}"/>
              </a:ext>
            </a:extLst>
          </p:cNvPr>
          <p:cNvSpPr>
            <a:spLocks/>
          </p:cNvSpPr>
          <p:nvPr>
            <p:custDataLst>
              <p:tags r:id="rId62"/>
            </p:custDataLst>
          </p:nvPr>
        </p:nvSpPr>
        <p:spPr bwMode="auto">
          <a:xfrm>
            <a:off x="1108868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70E4C430-831E-41C0-9B97-157D92CC135D}" type="datetime'''''Q''''''3'''">
              <a:rPr lang="en-GB" altLang="en-US" sz="900" b="0" smtClean="0">
                <a:solidFill>
                  <a:srgbClr val="ACAEB1"/>
                </a:solidFill>
                <a:latin typeface="Century Schoolbook (Body)"/>
              </a:rPr>
              <a:pPr lvl="0" algn="ctr">
                <a:spcBef>
                  <a:spcPct val="0"/>
                </a:spcBef>
                <a:spcAft>
                  <a:spcPct val="0"/>
                </a:spcAft>
              </a:pPr>
              <a:t>Q3</a:t>
            </a:fld>
            <a:endParaRPr lang="en-GB" sz="900" b="0" dirty="0">
              <a:solidFill>
                <a:srgbClr val="ACAEB1"/>
              </a:solidFill>
              <a:latin typeface="Century Schoolbook (Body)"/>
              <a:sym typeface="Century Schoolbook (Body)"/>
            </a:endParaRPr>
          </a:p>
        </p:txBody>
      </p:sp>
      <p:sp>
        <p:nvSpPr>
          <p:cNvPr id="6" name="Text Placeholder 2">
            <a:extLst>
              <a:ext uri="{FF2B5EF4-FFF2-40B4-BE49-F238E27FC236}">
                <a16:creationId xmlns:a16="http://schemas.microsoft.com/office/drawing/2014/main" id="{AEA69C46-C8FD-85BC-13FF-6748A6A4996F}"/>
              </a:ext>
            </a:extLst>
          </p:cNvPr>
          <p:cNvSpPr>
            <a:spLocks/>
          </p:cNvSpPr>
          <p:nvPr>
            <p:custDataLst>
              <p:tags r:id="rId63"/>
            </p:custDataLst>
          </p:nvPr>
        </p:nvSpPr>
        <p:spPr bwMode="auto">
          <a:xfrm>
            <a:off x="11326813"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8EAAABF4-9C38-4301-AF6E-88BD69418C5C}" type="datetime'''''''''''''''Q''4'''">
              <a:rPr lang="en-GB" altLang="en-US" sz="900" b="0" smtClean="0">
                <a:solidFill>
                  <a:srgbClr val="ACAEB1"/>
                </a:solidFill>
                <a:latin typeface="Century Schoolbook (Body)"/>
              </a:rPr>
              <a:pPr lvl="0" algn="ctr">
                <a:spcBef>
                  <a:spcPct val="0"/>
                </a:spcBef>
                <a:spcAft>
                  <a:spcPct val="0"/>
                </a:spcAft>
              </a:pPr>
              <a:t>Q4</a:t>
            </a:fld>
            <a:endParaRPr lang="en-GB" sz="900" b="0" dirty="0">
              <a:solidFill>
                <a:srgbClr val="ACAEB1"/>
              </a:solidFill>
              <a:latin typeface="Century Schoolbook (Body)"/>
              <a:sym typeface="Century Schoolbook (Body)"/>
            </a:endParaRPr>
          </a:p>
        </p:txBody>
      </p:sp>
      <p:sp>
        <p:nvSpPr>
          <p:cNvPr id="7" name="Text Placeholder 2">
            <a:extLst>
              <a:ext uri="{FF2B5EF4-FFF2-40B4-BE49-F238E27FC236}">
                <a16:creationId xmlns:a16="http://schemas.microsoft.com/office/drawing/2014/main" id="{2362913B-B736-C470-C6E8-DF43E4229331}"/>
              </a:ext>
            </a:extLst>
          </p:cNvPr>
          <p:cNvSpPr>
            <a:spLocks/>
          </p:cNvSpPr>
          <p:nvPr>
            <p:custDataLst>
              <p:tags r:id="rId64"/>
            </p:custDataLst>
          </p:nvPr>
        </p:nvSpPr>
        <p:spPr bwMode="auto">
          <a:xfrm>
            <a:off x="11563350"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58800CBA-936C-450A-908A-BCA5E525A1C9}" type="datetime'Q''''1'''''''''''''''''''">
              <a:rPr lang="en-GB" altLang="en-US" sz="900" b="0" smtClean="0">
                <a:solidFill>
                  <a:srgbClr val="ACAEB1"/>
                </a:solidFill>
                <a:latin typeface="Century Schoolbook (Body)"/>
              </a:rPr>
              <a:pPr lvl="0" algn="ctr">
                <a:spcBef>
                  <a:spcPct val="0"/>
                </a:spcBef>
                <a:spcAft>
                  <a:spcPct val="0"/>
                </a:spcAft>
              </a:pPr>
              <a:t>Q1</a:t>
            </a:fld>
            <a:endParaRPr lang="en-GB" sz="900" b="0" dirty="0">
              <a:solidFill>
                <a:srgbClr val="ACAEB1"/>
              </a:solidFill>
              <a:latin typeface="Century Schoolbook (Body)"/>
              <a:sym typeface="Century Schoolbook (Body)"/>
            </a:endParaRPr>
          </a:p>
        </p:txBody>
      </p:sp>
      <p:sp>
        <p:nvSpPr>
          <p:cNvPr id="298" name="Text Placeholder 2">
            <a:extLst>
              <a:ext uri="{FF2B5EF4-FFF2-40B4-BE49-F238E27FC236}">
                <a16:creationId xmlns:a16="http://schemas.microsoft.com/office/drawing/2014/main" id="{C2C9F0FE-F054-DC4D-4811-94DAB627BE0F}"/>
              </a:ext>
            </a:extLst>
          </p:cNvPr>
          <p:cNvSpPr>
            <a:spLocks/>
          </p:cNvSpPr>
          <p:nvPr>
            <p:custDataLst>
              <p:tags r:id="rId65"/>
            </p:custDataLst>
          </p:nvPr>
        </p:nvSpPr>
        <p:spPr bwMode="auto">
          <a:xfrm>
            <a:off x="9901238" y="5386388"/>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lgn="ctr">
              <a:spcBef>
                <a:spcPct val="0"/>
              </a:spcBef>
              <a:spcAft>
                <a:spcPct val="0"/>
              </a:spcAft>
            </a:pPr>
            <a:fld id="{6B2EC449-BF6C-4286-841E-9D3B3DFC87CD}" type="datetime'''''''''''Q''''''''''''''2'''''''''''''''''''''''''">
              <a:rPr lang="en-GB" altLang="en-US" sz="900" b="0" smtClean="0">
                <a:solidFill>
                  <a:srgbClr val="ACAEB1"/>
                </a:solidFill>
                <a:latin typeface="Century Schoolbook (Body)"/>
              </a:rPr>
              <a:pPr lvl="0" algn="ctr">
                <a:spcBef>
                  <a:spcPct val="0"/>
                </a:spcBef>
                <a:spcAft>
                  <a:spcPct val="0"/>
                </a:spcAft>
              </a:pPr>
              <a:t>Q2</a:t>
            </a:fld>
            <a:endParaRPr lang="en-GB" sz="900" b="0" dirty="0">
              <a:solidFill>
                <a:srgbClr val="ACAEB1"/>
              </a:solidFill>
              <a:latin typeface="Century Schoolbook (Body)"/>
              <a:sym typeface="Century Schoolbook (Body)"/>
            </a:endParaRPr>
          </a:p>
        </p:txBody>
      </p:sp>
      <p:sp>
        <p:nvSpPr>
          <p:cNvPr id="172" name="Rectangle 171">
            <a:extLst>
              <a:ext uri="{FF2B5EF4-FFF2-40B4-BE49-F238E27FC236}">
                <a16:creationId xmlns:a16="http://schemas.microsoft.com/office/drawing/2014/main" id="{4C67CE81-DD98-3FBB-6EAD-FE4FECBAA6AF}"/>
              </a:ext>
            </a:extLst>
          </p:cNvPr>
          <p:cNvSpPr/>
          <p:nvPr>
            <p:custDataLst>
              <p:tags r:id="rId66"/>
            </p:custDataLst>
          </p:nvPr>
        </p:nvSpPr>
        <p:spPr bwMode="auto">
          <a:xfrm>
            <a:off x="5056188" y="5919788"/>
            <a:ext cx="160338" cy="120650"/>
          </a:xfrm>
          <a:prstGeom prst="rect">
            <a:avLst/>
          </a:prstGeom>
          <a:solidFill>
            <a:schemeClr val="accent1"/>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Rectangle 172">
            <a:extLst>
              <a:ext uri="{FF2B5EF4-FFF2-40B4-BE49-F238E27FC236}">
                <a16:creationId xmlns:a16="http://schemas.microsoft.com/office/drawing/2014/main" id="{9206DB31-0B31-12F3-5CFC-C4A034F4AC21}"/>
              </a:ext>
            </a:extLst>
          </p:cNvPr>
          <p:cNvSpPr/>
          <p:nvPr>
            <p:custDataLst>
              <p:tags r:id="rId67"/>
            </p:custDataLst>
          </p:nvPr>
        </p:nvSpPr>
        <p:spPr bwMode="auto">
          <a:xfrm>
            <a:off x="5848350" y="5919788"/>
            <a:ext cx="160338" cy="120650"/>
          </a:xfrm>
          <a:prstGeom prst="rect">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4" name="Rectangle 173">
            <a:extLst>
              <a:ext uri="{FF2B5EF4-FFF2-40B4-BE49-F238E27FC236}">
                <a16:creationId xmlns:a16="http://schemas.microsoft.com/office/drawing/2014/main" id="{5999BB11-626C-9041-ABCA-79DEBE241985}"/>
              </a:ext>
            </a:extLst>
          </p:cNvPr>
          <p:cNvSpPr/>
          <p:nvPr>
            <p:custDataLst>
              <p:tags r:id="rId68"/>
            </p:custDataLst>
          </p:nvPr>
        </p:nvSpPr>
        <p:spPr bwMode="auto">
          <a:xfrm>
            <a:off x="6691313" y="5919788"/>
            <a:ext cx="160338" cy="120650"/>
          </a:xfrm>
          <a:prstGeom prst="rect">
            <a:avLst/>
          </a:prstGeom>
          <a:solidFill>
            <a:schemeClr val="accent3"/>
          </a:solidFill>
          <a:ln w="952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Text Placeholder 2">
            <a:extLst>
              <a:ext uri="{FF2B5EF4-FFF2-40B4-BE49-F238E27FC236}">
                <a16:creationId xmlns:a16="http://schemas.microsoft.com/office/drawing/2014/main" id="{887CBD83-0310-837D-A160-14C5C1D0F00F}"/>
              </a:ext>
            </a:extLst>
          </p:cNvPr>
          <p:cNvSpPr>
            <a:spLocks/>
          </p:cNvSpPr>
          <p:nvPr>
            <p:custDataLst>
              <p:tags r:id="rId69"/>
            </p:custDataLst>
          </p:nvPr>
        </p:nvSpPr>
        <p:spPr bwMode="auto">
          <a:xfrm>
            <a:off x="5267325" y="5916613"/>
            <a:ext cx="479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E275003A-8BF0-4D89-ABF6-25563CDD422B}" type="datetime'''R''''oa''''''''''''''''''''''''d''''''''si''''''d''''e'''''">
              <a:rPr lang="en-GB" altLang="en-US" sz="900" b="0" smtClean="0">
                <a:solidFill>
                  <a:srgbClr val="ACAEB1"/>
                </a:solidFill>
                <a:latin typeface="Century Schoolbook (Body)"/>
              </a:rPr>
              <a:pPr/>
              <a:t>Roadside</a:t>
            </a:fld>
            <a:endParaRPr lang="en-GB" sz="900" b="0" dirty="0">
              <a:solidFill>
                <a:srgbClr val="ACAEB1"/>
              </a:solidFill>
              <a:latin typeface="Century Schoolbook (Body)"/>
              <a:sym typeface="Century Schoolbook (Body)"/>
            </a:endParaRPr>
          </a:p>
        </p:txBody>
      </p:sp>
      <p:sp>
        <p:nvSpPr>
          <p:cNvPr id="168" name="Text Placeholder 2">
            <a:extLst>
              <a:ext uri="{FF2B5EF4-FFF2-40B4-BE49-F238E27FC236}">
                <a16:creationId xmlns:a16="http://schemas.microsoft.com/office/drawing/2014/main" id="{14F10A41-F6A9-3B10-45EB-54ADB57BC051}"/>
              </a:ext>
            </a:extLst>
          </p:cNvPr>
          <p:cNvSpPr>
            <a:spLocks/>
          </p:cNvSpPr>
          <p:nvPr>
            <p:custDataLst>
              <p:tags r:id="rId70"/>
            </p:custDataLst>
          </p:nvPr>
        </p:nvSpPr>
        <p:spPr bwMode="auto">
          <a:xfrm>
            <a:off x="6059488" y="5916613"/>
            <a:ext cx="530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39E0B555-BCC8-4CAB-92F9-0AFA57C46F5A}" type="datetime'''''''''''''''''T''''ra''ns''''p''''''''''''o''''rt'''''''''">
              <a:rPr lang="en-GB" altLang="en-US" sz="900" b="0" smtClean="0">
                <a:solidFill>
                  <a:srgbClr val="ACAEB1"/>
                </a:solidFill>
                <a:latin typeface="Century Schoolbook (Body)"/>
              </a:rPr>
              <a:pPr/>
              <a:t>Transport</a:t>
            </a:fld>
            <a:endParaRPr lang="en-GB" sz="900" b="0" dirty="0">
              <a:solidFill>
                <a:srgbClr val="ACAEB1"/>
              </a:solidFill>
              <a:latin typeface="Century Schoolbook (Body)"/>
              <a:sym typeface="Century Schoolbook (Body)"/>
            </a:endParaRPr>
          </a:p>
        </p:txBody>
      </p:sp>
      <p:sp>
        <p:nvSpPr>
          <p:cNvPr id="169" name="Text Placeholder 2">
            <a:extLst>
              <a:ext uri="{FF2B5EF4-FFF2-40B4-BE49-F238E27FC236}">
                <a16:creationId xmlns:a16="http://schemas.microsoft.com/office/drawing/2014/main" id="{A345A841-8FDB-E66F-EEBB-3123C0527748}"/>
              </a:ext>
            </a:extLst>
          </p:cNvPr>
          <p:cNvSpPr>
            <a:spLocks/>
          </p:cNvSpPr>
          <p:nvPr>
            <p:custDataLst>
              <p:tags r:id="rId71"/>
            </p:custDataLst>
          </p:nvPr>
        </p:nvSpPr>
        <p:spPr bwMode="auto">
          <a:xfrm>
            <a:off x="6902450" y="5916613"/>
            <a:ext cx="982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lvl="0">
              <a:spcBef>
                <a:spcPct val="0"/>
              </a:spcBef>
              <a:spcAft>
                <a:spcPct val="0"/>
              </a:spcAft>
            </a:pPr>
            <a:fld id="{8472C0C7-6674-468F-B5E3-FECA3CF18788}" type="datetime'R''''e''''tai''''''''''l'''' ''''and Leisu''''re'">
              <a:rPr lang="en-GB" altLang="en-US" sz="900" b="0" smtClean="0">
                <a:solidFill>
                  <a:srgbClr val="ACAEB1"/>
                </a:solidFill>
                <a:latin typeface="Century Schoolbook (Body)"/>
              </a:rPr>
              <a:pPr/>
              <a:t>Retail and Leisure</a:t>
            </a:fld>
            <a:endParaRPr lang="en-GB" sz="900" b="0" dirty="0">
              <a:solidFill>
                <a:srgbClr val="ACAEB1"/>
              </a:solidFill>
              <a:latin typeface="Century Schoolbook (Body)"/>
              <a:sym typeface="Century Schoolbook (Body)"/>
            </a:endParaRPr>
          </a:p>
        </p:txBody>
      </p:sp>
      <p:sp>
        <p:nvSpPr>
          <p:cNvPr id="307" name="Rectangle 306">
            <a:extLst>
              <a:ext uri="{FF2B5EF4-FFF2-40B4-BE49-F238E27FC236}">
                <a16:creationId xmlns:a16="http://schemas.microsoft.com/office/drawing/2014/main" id="{C6EC1307-8281-442D-339D-2C8185DB04A8}"/>
              </a:ext>
            </a:extLst>
          </p:cNvPr>
          <p:cNvSpPr/>
          <p:nvPr/>
        </p:nvSpPr>
        <p:spPr>
          <a:xfrm>
            <a:off x="1055915" y="5519058"/>
            <a:ext cx="1023256"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15</a:t>
            </a:r>
          </a:p>
        </p:txBody>
      </p:sp>
      <p:sp>
        <p:nvSpPr>
          <p:cNvPr id="308" name="Rectangle 307">
            <a:extLst>
              <a:ext uri="{FF2B5EF4-FFF2-40B4-BE49-F238E27FC236}">
                <a16:creationId xmlns:a16="http://schemas.microsoft.com/office/drawing/2014/main" id="{1B98245D-C9FF-495D-7374-5684FE75282B}"/>
              </a:ext>
            </a:extLst>
          </p:cNvPr>
          <p:cNvSpPr/>
          <p:nvPr/>
        </p:nvSpPr>
        <p:spPr>
          <a:xfrm>
            <a:off x="2153195"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16</a:t>
            </a:r>
          </a:p>
        </p:txBody>
      </p:sp>
      <p:sp>
        <p:nvSpPr>
          <p:cNvPr id="309" name="Rectangle 308">
            <a:extLst>
              <a:ext uri="{FF2B5EF4-FFF2-40B4-BE49-F238E27FC236}">
                <a16:creationId xmlns:a16="http://schemas.microsoft.com/office/drawing/2014/main" id="{466F9F59-1C32-31CF-AA77-B72AC8989BC3}"/>
              </a:ext>
            </a:extLst>
          </p:cNvPr>
          <p:cNvSpPr/>
          <p:nvPr/>
        </p:nvSpPr>
        <p:spPr>
          <a:xfrm>
            <a:off x="3141618"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17</a:t>
            </a:r>
          </a:p>
        </p:txBody>
      </p:sp>
      <p:sp>
        <p:nvSpPr>
          <p:cNvPr id="310" name="Rectangle 309">
            <a:extLst>
              <a:ext uri="{FF2B5EF4-FFF2-40B4-BE49-F238E27FC236}">
                <a16:creationId xmlns:a16="http://schemas.microsoft.com/office/drawing/2014/main" id="{6B168786-6129-2EFC-4193-3289BEB7427F}"/>
              </a:ext>
            </a:extLst>
          </p:cNvPr>
          <p:cNvSpPr/>
          <p:nvPr/>
        </p:nvSpPr>
        <p:spPr>
          <a:xfrm>
            <a:off x="4130041"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18</a:t>
            </a:r>
          </a:p>
        </p:txBody>
      </p:sp>
      <p:sp>
        <p:nvSpPr>
          <p:cNvPr id="311" name="Rectangle 310">
            <a:extLst>
              <a:ext uri="{FF2B5EF4-FFF2-40B4-BE49-F238E27FC236}">
                <a16:creationId xmlns:a16="http://schemas.microsoft.com/office/drawing/2014/main" id="{A4C1C938-BE7E-899A-0ACC-33109988278C}"/>
              </a:ext>
            </a:extLst>
          </p:cNvPr>
          <p:cNvSpPr/>
          <p:nvPr/>
        </p:nvSpPr>
        <p:spPr>
          <a:xfrm>
            <a:off x="5118464"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19</a:t>
            </a:r>
          </a:p>
        </p:txBody>
      </p:sp>
      <p:sp>
        <p:nvSpPr>
          <p:cNvPr id="312" name="Rectangle 311">
            <a:extLst>
              <a:ext uri="{FF2B5EF4-FFF2-40B4-BE49-F238E27FC236}">
                <a16:creationId xmlns:a16="http://schemas.microsoft.com/office/drawing/2014/main" id="{66B0FDF6-6E07-A968-B3EF-EA46323C74F1}"/>
              </a:ext>
            </a:extLst>
          </p:cNvPr>
          <p:cNvSpPr/>
          <p:nvPr/>
        </p:nvSpPr>
        <p:spPr>
          <a:xfrm>
            <a:off x="6106887"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20</a:t>
            </a:r>
          </a:p>
        </p:txBody>
      </p:sp>
      <p:sp>
        <p:nvSpPr>
          <p:cNvPr id="313" name="Rectangle 312">
            <a:extLst>
              <a:ext uri="{FF2B5EF4-FFF2-40B4-BE49-F238E27FC236}">
                <a16:creationId xmlns:a16="http://schemas.microsoft.com/office/drawing/2014/main" id="{4B02B37F-F2DC-2000-28CD-5CD241566695}"/>
              </a:ext>
            </a:extLst>
          </p:cNvPr>
          <p:cNvSpPr/>
          <p:nvPr/>
        </p:nvSpPr>
        <p:spPr>
          <a:xfrm>
            <a:off x="7095310"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21</a:t>
            </a:r>
          </a:p>
        </p:txBody>
      </p:sp>
      <p:sp>
        <p:nvSpPr>
          <p:cNvPr id="314" name="Rectangle 313">
            <a:extLst>
              <a:ext uri="{FF2B5EF4-FFF2-40B4-BE49-F238E27FC236}">
                <a16:creationId xmlns:a16="http://schemas.microsoft.com/office/drawing/2014/main" id="{6BE007FC-D58E-3496-6358-D0258621B971}"/>
              </a:ext>
            </a:extLst>
          </p:cNvPr>
          <p:cNvSpPr/>
          <p:nvPr/>
        </p:nvSpPr>
        <p:spPr>
          <a:xfrm>
            <a:off x="8083733"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22</a:t>
            </a:r>
          </a:p>
        </p:txBody>
      </p:sp>
      <p:sp>
        <p:nvSpPr>
          <p:cNvPr id="315" name="Rectangle 314">
            <a:extLst>
              <a:ext uri="{FF2B5EF4-FFF2-40B4-BE49-F238E27FC236}">
                <a16:creationId xmlns:a16="http://schemas.microsoft.com/office/drawing/2014/main" id="{97AE0CF3-04BB-51D9-0AA5-B517D57BDFBC}"/>
              </a:ext>
            </a:extLst>
          </p:cNvPr>
          <p:cNvSpPr/>
          <p:nvPr/>
        </p:nvSpPr>
        <p:spPr>
          <a:xfrm>
            <a:off x="9072156"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23</a:t>
            </a:r>
          </a:p>
        </p:txBody>
      </p:sp>
      <p:sp>
        <p:nvSpPr>
          <p:cNvPr id="316" name="Rectangle 315">
            <a:extLst>
              <a:ext uri="{FF2B5EF4-FFF2-40B4-BE49-F238E27FC236}">
                <a16:creationId xmlns:a16="http://schemas.microsoft.com/office/drawing/2014/main" id="{E9B4A480-90B0-74AB-86D3-86255A76FE01}"/>
              </a:ext>
            </a:extLst>
          </p:cNvPr>
          <p:cNvSpPr/>
          <p:nvPr/>
        </p:nvSpPr>
        <p:spPr>
          <a:xfrm>
            <a:off x="10060579" y="5519058"/>
            <a:ext cx="914399"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24</a:t>
            </a:r>
          </a:p>
        </p:txBody>
      </p:sp>
      <p:sp>
        <p:nvSpPr>
          <p:cNvPr id="317" name="Rectangle 316">
            <a:extLst>
              <a:ext uri="{FF2B5EF4-FFF2-40B4-BE49-F238E27FC236}">
                <a16:creationId xmlns:a16="http://schemas.microsoft.com/office/drawing/2014/main" id="{A8C9D385-E07D-790E-0F4C-5700F7107BF5}"/>
              </a:ext>
            </a:extLst>
          </p:cNvPr>
          <p:cNvSpPr/>
          <p:nvPr/>
        </p:nvSpPr>
        <p:spPr>
          <a:xfrm>
            <a:off x="11049002" y="5519058"/>
            <a:ext cx="704383" cy="3156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ACAEB1"/>
                </a:solidFill>
              </a:rPr>
              <a:t>2025</a:t>
            </a:r>
          </a:p>
        </p:txBody>
      </p:sp>
    </p:spTree>
    <p:extLst>
      <p:ext uri="{BB962C8B-B14F-4D97-AF65-F5344CB8AC3E}">
        <p14:creationId xmlns:p14="http://schemas.microsoft.com/office/powerpoint/2010/main" val="2134929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93,1,Slide38"/>
  <p:tag name="THINKCELLPRESENTATIONDONOTDELETE" val="&lt;?xml version=&quot;1.0&quot; encoding=&quot;UTF-16&quot; standalone=&quot;yes&quot;?&gt;&lt;root reqver=&quot;32687&quot;&gt;&lt;version val=&quot;38678&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29552617176730056059E+00&quot;&gt;&lt;m_msothmcolidx val=&quot;0&quot;/&gt;&lt;m_rgb r=&quot;70&quot; g=&quot;30&quot; b=&quot;A0&quot;/&gt;&lt;/elem&gt;&lt;elem m_fUsage=&quot;2.63266613910000035759E+00&quot;&gt;&lt;m_msothmcolidx val=&quot;0&quot;/&gt;&lt;m_rgb r=&quot;AC&quot; g=&quot;AE&quot; b=&quot;B1&quot;/&gt;&lt;/elem&gt;&lt;elem m_fUsage=&quot;8.71775564066499031313E-01&quot;&gt;&lt;m_msothmcolidx val=&quot;0&quot;/&gt;&lt;m_rgb r=&quot;CA&quot; g=&quot;CB&quot; b=&quot;CD&quot;/&gt;&lt;/elem&gt;&lt;elem m_fUsage=&quot;7.65384043863510110661E-01&quot;&gt;&lt;m_msothmcolidx val=&quot;0&quot;/&gt;&lt;m_rgb r=&quot;EB&quot; g=&quot;EB&quot; b=&quot;EC&quot;/&gt;&lt;/elem&gt;&lt;elem m_fUsage=&quot;7.40584635296999249654E-01&quot;&gt;&lt;m_msothmcolidx val=&quot;0&quot;/&gt;&lt;m_rgb r=&quot;73&quot; g=&quot;97&quot; b=&quot;00&quot;/&gt;&lt;/elem&gt;&lt;elem m_fUsage=&quot;4.78296900000000135833E-01&quot;&gt;&lt;m_msothmcolidx val=&quot;0&quot;/&gt;&lt;m_rgb r=&quot;10&quot; g=&quot;CA&quot; b=&quot;BC&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XewdjmXjX.mCVXKap5AZ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nDRRvtB2g0ika7YdGJLX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FkWdG4KA_PgR7wmfAZ84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Zc3ra8puJCBdvmdaeZOv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O8kSXl.kY6keJ7wbMHOc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cUZhfP1usHFTW.wShgti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8Z7or7Ow0Ho1LGlRIU2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3uDxWkUne9ggNMP6I1pCO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V6OHBvX9zKDwnZyjuWPw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HfB8HYnBDu4V9HS34HN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CTiXgNNatEJeiNQJ0ia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9XPuMrT6g7n2qjik.HF7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FKNexgpNYGdOdtnmHz7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0uAWEhS7XS6tlPvQFP.r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ayYlvzzzodhExrWkbT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fBoWD8yU1fG3oPRsClI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WJALjXfrExyjLWmgEeq.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pyQPMHZisiOoStseE0HC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IQdUYbwcvv8UjmMvUF4l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tYcplXsmvbsTJ6QYbpoD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0YWv8xCAJF92_eGGqmr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ERX7qCzhnX50yNSQtsP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J_9t4KtWEL8Ba_LFQvZr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HvJPtfq.H5aJ7lGVuP_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eEalmmd3vz1obRkN9f1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NP1CQgJ4Fw8VBKPHlDWD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bAXuahpb7HkPBxzYsLq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I3lwvU3jvHRacffNA0Xh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UEFqPCy5BhUozFmY9qA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6FAO_8uuYcBnvu074na8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xVp10U5jHjT9iTQhoiVB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a3xnTGGWCqQlEeLK1xH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Yrt6vYe7qVLIL554yhJ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34eyVh8wOfuLt0s4Yyb9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Skt41kos3M8Jd1BAuKPn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OhKKOnQE17XQgyGiD2uK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7..pk_iuUK9d4yibISTJI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BLvTirW6XQN5SH6phkx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d6XYiunXSUQEHkIoKIbl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o4mV0nUtrsLyG1gWWsf4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ymaNz9w7yzp9FBe7FYn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3zB6HTUwnsko8GxG7R1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xsZkvuHFPgLr_8wHjmc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O8kSXl.kY6keJ7wbMHO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_H5hihsQLJ6WGyu1ExF_7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5tuJs4rihcWJjm8Zajr3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xGezjCrDriZ_Ru8peXA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oaz3bOCdazbYnVWqb5QY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OUeThri.fZIhY9zPECJc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qIjV.Nin5BK_i8eLB6f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sRgspYafZxpOdeZajul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ZsGbu.wSOan6usGJhy4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euUNpqvE82jBlHk.ewQ_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LVFuL8zWPU_qZmV1mZpD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sOhqPTgFLR2NQQHxt5P6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tPH0S7CSuXyHwz10Vox_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FH3iqZEPrLtiYzKpGa7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8GCBmlPAHeaePD7vePk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6hPq7QgRatFHAx5BzhnL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2yyGR5fna37YHdZ_eYHp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ImRml.AQGoCmMrM5BHN.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NH3nN5w1U1LbACHsRJ.v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_SVuhBLdesM9CK2fJ3Nph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pxTbzk53GBsQDZpid6Hj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XLZfuzRoEdp7kIJ.AEXE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TzSw9QlOoIOSrsaUR_oi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iRIeOGCWi1sCAnstFc9m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m4LqRRCf5gxIV067rIJ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cUmK.s_iA2MaPRcWp1ko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t43iOVKHIkw6l9oRo6_q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H5hihsQLJ6WGyu1ExF_7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5tuJs4rihcWJjm8Zajr3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xGezjCrDriZ_Ru8peXA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oaz3bOCdazbYnVWqb5QY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OUeThri.fZIhY9zPECJ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qIjV.Nin5BK_i8eLB6fE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Oc6LKX0TeySlu5lcZuZ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ZsGbu.wSOan6usGJhy4t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euUNpqvE82jBlHk.ewQ_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LVFuL8zWPU_qZmV1mZp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sOhqPTgFLR2NQQHxt5P6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tPH0S7CSuXyHwz10Vox_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uH5z.e96c7lBcOe8P1b.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3Sdu2XUBchza.qNvYii0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NH3nN5w1U1LbACHsRJ.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O30oaUEjrYlIMcj8ClHf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H5hihsQLJ6WGyu1ExF_7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5tuJs4rihcWJjm8Zajr3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xGezjCrDriZ_Ru8peXA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8oaz3bOCdazbYnVWqb5Q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OUeThri.fZIhY9zPECJ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qIjV.Nin5BK_i8eLB6fE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L2RVOb6aq1IQQOdXxQWV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ZsGbu.wSOan6usGJhy4t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euUNpqvE82jBlHk.ewQ_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LVFuL8zWPU_qZmV1mZpD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sOhqPTgFLR2NQQHxt5P6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n584YqSoomuul2awJ6k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KKLFPHVUGfe__84iJW48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pybeapr6ICDEP4vEN_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1dM_dIr0CVWxFu8nQXz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nWt0y.40nN3KZyrnOcx2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ysBgiUIQj8lozGwspJt3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_LZK1Hnk.UPWPuiEkclGp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9CaywGUQYgQO6vjYjsdp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Cj2SI1Hz3h6X89iSJaPC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xUkzpcMQY27ZljeZkm5m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R_G7brKKYOtdflzMuNT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wtdQkJca4kb4eZUoPk5wm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zpGWpS2JK2mOmHRxA3EB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rPxVam05vcRKnNUP2trD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BbtQvehjkj9uhYa6IUMM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EOStt_104doLK0Y9P3xd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5tuJs4rihcWJjm8Zajr3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rn8KWKDaQIYrXBMRsd_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MsvhMaA7Oug_IPhfrmST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CS6uEdDHeHaR1gyfCLKJ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Xd.jCuzDLPearcdzvLU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FNUqzSStIpPVVsZ1DPH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OMVBxKGR2IBMv3mBXroG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EM_Ky9UsNOcoWHH0o1sN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jMQvoGRV30eVWGIA0eYo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y6nS1PshfLadLid5gjC0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xGezjCrDriZ_Ru8peXAp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NH3nN5w1U1LbACHsRJ.v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WO8YhKdROsf7i2Ys1jNJ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JaZufDDBETilhuW_mT93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sNieh0Ly0h_I3jWwbH_w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OHtjBWVrIRAdE.RzSFe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6nsa49dW5mfrplVf3E56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q9_tEPBypl1ty5Eepinf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HkTgqF3u0DMNW06aXd7F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VOiSUHZvZzIlcdNfVWv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0JHAuZmAuH4JDwmxdJy3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KWwtkHsveZw_9VlPzsT6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qUYqnUNpG7ZbjDvRWtUh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F5.xCkkPlFoP6d2hELTs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0IZF117av9f3HsI3PYuV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9KrZNvWVz0eAbTpv.3TYa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U_qx8egi9TL6GG_BOPM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G1Xa5E_O1gKNx1sThjpz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TbXQ5sLM7Yfw_odEtEJ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oaz3bOCdazbYnVWqb5QY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zj0p1G6hRHsD.iaoRGzGd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5.16CA_GO1ODjwMYdgU_d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pwMutI2414xYWlD3HoFY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v3yzBNwASbdRH9lRrvYR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GYisiWTAY_9oAgQ5tWsp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3EaCDCtMrchJ.MDtm.9A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OeJRyC_TH5vpstirD8c6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Yj.HO5aXy7gEroKPqB0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OUeThri.fZIhY9zPECJc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CoeLPeGL1X9y4rq_IqE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x.JgZ7dzvxmo.Q.Jv8Bt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fhNd91fn1dGlHTgTg7W5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0cRMunalujoMU8uxJrchp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kylOVku0Xx2WJMkXYXr2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1bnd8VYeZXYwp4iI_c3i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PSWFEtgKOGYtn58Ui3aa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fU.2fnAAOcNB9ocRxpSPN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PSxCMICQ7I6tYOvvK0d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qIjV.Nin5BK_i8eLB6fE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audFLLbHzkXzMuzM1aiG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usanDHXxi4pXcA55yf8NG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TZON8KAciEwYiuxK9zHU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TW3qKZfEh0n94wKYVuGte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DkNqWsagQpGPCbk_E9pK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fn63govINJonwZb2B2BZF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DpMO7KU_gKC7piXeH_w3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O30oaUEjrYlIMcj8ClHf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Qw27LbqQo7wNUSLTzeW4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kYeFt3sv3Ok4_T.7GqX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VU6r2ILYLELtMFE4NqGA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UGJT4fN.oo2OPLMFT2yi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dT9.hmYO3hg87z.hdmC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t.LtAENAjpFufMqe2FnA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AgpIVwF5TVS0qaM3O3X8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txhbmRpJPrwi7ewNutYN1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5M27AGNJaZ_vf1LI_OKOG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66SR9u_zps1YBBlw.Aze1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GEWpVpVnBtnsAFTE_Vrhi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3wEQ6ljDJ7UAiitI8Hj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ZsGbu.wSOan6usGJhy4t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kMqN0.HVY2qroBdyv4m8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3pTTBErBGnuHu_Qcs8Wc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CKZymiuGhqqVB_8FeyiDf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EGnFjLcU8iKBRv7y3LyQR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BCS6uEdDHeHaR1gyfCLKJ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Xd.jCuzDLPearcdzvLUd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MFNUqzSStIpPVVsZ1DPH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M_Ky9UsNOcoWHH0o1sNc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jMQvoGRV30eVWGIA0eY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y6nS1PshfLadLid5gjC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euUNpqvE82jBlHk.ewQ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LVFuL8zWPU_qZmV1mZp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sOhqPTgFLR2NQQHxt5P6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C6tk3t.UW9JLLPzU6Qa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vKgSH6byNP6j6fOYJYo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tPH0S7CSuXyHwz10Vox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5bYRs.yq9ROxXsoVnH6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FH3iqZEPrLtiYzKpGa7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2m.VcsLeHmo5HD8YXiA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Z0mR52RHWDP3v6oqDp8c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uH5z.e96c7lBcOe8P1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TmFDxrKPffsQot0lJzW7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O8kSXl.kY6keJ7wbMHO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ojfT6sE.OthjnZx5PaM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NAva561CQdlf3fp.nXG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8GCBmlPAHeaePD7vePk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RfUebQjWMPzh4xw63I7j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Xx6MtLwOTE9goOwHgAU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FrDyGO4HcuQOgMWTfz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WQkLYgp66ytLNJLm04I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YPBVdPDt29WpK1FgFzA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ePD5PJZabWzEXniY30i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8x.FUXhpB9hsZ4Ly3aX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H5hihsQLJ6WGyu1ExF_7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mXZjv9R.Vg_SmzX2mSU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O8kSXl.kY6keJ7wbMHO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H5hihsQLJ6WGyu1ExF_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WNPjAWiuk4M0OiVS2Zky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5tuJs4rihcWJjm8Zajr3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xGezjCrDriZ_Ru8peXA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oaz3bOCdazbYnVWqb5Q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OUeThri.fZIhY9zPECJ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qIjV.Nin5BK_i8eLB6f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ZsGbu.wSOan6usGJhy4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euUNpqvE82jBlHk.ewQ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LVFuL8zWPU_qZmV1mZp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_ztlrECx.hxpfVst93gt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sOhqPTgFLR2NQQHxt5P6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C6tk3t.UW9JLLPzU6Qa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4sjTYWpnma6lw5joh3AA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gmtUA7_uNoCaWKAVGf_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NP1CQgJ4Fw8VBKPHlDW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bAXuahpb7HkPBxzYsLq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I3lwvU3jvHRacffNA0X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hQvJJ6l4hzgM.WTDVow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UEFqPCy5BhUozFmY9q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xsShV2NJFo0Ij.O2oIU8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6FAO_8uuYcBnvu074na8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xVp10U5jHjT9iTQhoiV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h.c0z49W3wh4BziVoFKQ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JuXVIuc9veQqnKHaSZK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kbSphely45Porh5RmD6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H5hihsQLJ6WGyu1ExF_7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5tuJs4rihcWJjm8Zajr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xGezjCrDriZ_Ru8peXA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M1Ua930y4M_AQhD8idI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1vEi0l2jiscHIJiU0svB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oaz3bOCdazbYnVWqb5QY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OUeThri.fZIhY9zPECJ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qIjV.Nin5BK_i8eLB6fE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hLIdISj23EjKjnXE8nYQ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ZsGbu.wSOan6usGJhy4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euUNpqvE82jBlHk.ewQ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LVFuL8zWPU_qZmV1mZp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VPFXTCn2f8i6CBHHM7B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sOhqPTgFLR2NQQHxt5P6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C6tk3t.UW9JLLPzU6QaEQ"/>
</p:tagLst>
</file>

<file path=ppt/theme/theme1.xml><?xml version="1.0" encoding="utf-8"?>
<a:theme xmlns:a="http://schemas.openxmlformats.org/drawingml/2006/main" name="OutSmart">
  <a:themeElements>
    <a:clrScheme name="OutSmart">
      <a:dk1>
        <a:srgbClr val="7A7D81"/>
      </a:dk1>
      <a:lt1>
        <a:sysClr val="window" lastClr="FFFFFF"/>
      </a:lt1>
      <a:dk2>
        <a:srgbClr val="A2B2C8"/>
      </a:dk2>
      <a:lt2>
        <a:srgbClr val="F6F5EE"/>
      </a:lt2>
      <a:accent1>
        <a:srgbClr val="8B2CB1"/>
      </a:accent1>
      <a:accent2>
        <a:srgbClr val="FF7E0E"/>
      </a:accent2>
      <a:accent3>
        <a:srgbClr val="99C900"/>
      </a:accent3>
      <a:accent4>
        <a:srgbClr val="00C6B7"/>
      </a:accent4>
      <a:accent5>
        <a:srgbClr val="E31C79"/>
      </a:accent5>
      <a:accent6>
        <a:srgbClr val="7A7D81"/>
      </a:accent6>
      <a:hlink>
        <a:srgbClr val="E31C79"/>
      </a:hlink>
      <a:folHlink>
        <a:srgbClr val="1D1D1B"/>
      </a:folHlink>
    </a:clrScheme>
    <a:fontScheme name="Outsmart">
      <a:majorFont>
        <a:latin typeface="Arial"/>
        <a:ea typeface=""/>
        <a:cs typeface=""/>
      </a:majorFont>
      <a:minorFont>
        <a:latin typeface="Century School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err="1"/>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1B775B0B1FE74C8CA7B2B3AA86E510" ma:contentTypeVersion="3" ma:contentTypeDescription="Create a new document." ma:contentTypeScope="" ma:versionID="623637bc10dd461775c692ba4602d36c">
  <xsd:schema xmlns:xsd="http://www.w3.org/2001/XMLSchema" xmlns:xs="http://www.w3.org/2001/XMLSchema" xmlns:p="http://schemas.microsoft.com/office/2006/metadata/properties" xmlns:ns2="821ada9c-b3e9-4602-af55-58cb05b3a380" targetNamespace="http://schemas.microsoft.com/office/2006/metadata/properties" ma:root="true" ma:fieldsID="185398296bd7e8973975d1a86b8f398e" ns2:_="">
    <xsd:import namespace="821ada9c-b3e9-4602-af55-58cb05b3a38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1ada9c-b3e9-4602-af55-58cb05b3a3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64A603-119E-49C8-AD3F-9FF6E91B478C}">
  <ds:schemaRefs>
    <ds:schemaRef ds:uri="http://schemas.microsoft.com/sharepoint/v3/contenttype/forms"/>
  </ds:schemaRefs>
</ds:datastoreItem>
</file>

<file path=customXml/itemProps2.xml><?xml version="1.0" encoding="utf-8"?>
<ds:datastoreItem xmlns:ds="http://schemas.openxmlformats.org/officeDocument/2006/customXml" ds:itemID="{2B5976B6-4BA1-4DDA-B8A9-ADB46A6F0FD0}">
  <ds:schemaRefs>
    <ds:schemaRef ds:uri="821ada9c-b3e9-4602-af55-58cb05b3a380"/>
    <ds:schemaRef ds:uri="http://purl.org/dc/elements/1.1/"/>
    <ds:schemaRef ds:uri="http://schemas.microsoft.com/office/2006/documentManagement/types"/>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FD78AABD-BAC4-4300-8964-84DC0F3C88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1ada9c-b3e9-4602-af55-58cb05b3a3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00</TotalTime>
  <Words>669</Words>
  <Application>Microsoft Office PowerPoint</Application>
  <PresentationFormat>Custom</PresentationFormat>
  <Paragraphs>385</Paragraphs>
  <Slides>10</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Century Schoolbook</vt:lpstr>
      <vt:lpstr>Century Schoolbook (Body)</vt:lpstr>
      <vt:lpstr>OutSmart</vt:lpstr>
      <vt:lpstr>think-cell Slide</vt:lpstr>
      <vt:lpstr>PowerPoint Presentation</vt:lpstr>
      <vt:lpstr>UK Out of Home Advertising Revenue</vt:lpstr>
      <vt:lpstr>UK Out of Home Revenue by Quarter</vt:lpstr>
      <vt:lpstr>UK Out of Home Advertising Revenue Split by Environment</vt:lpstr>
      <vt:lpstr>PowerPoint Presentation</vt:lpstr>
      <vt:lpstr>UK Digital Out of Home Revenue</vt:lpstr>
      <vt:lpstr>UK Digital Out of Home Revenue as a % Share of Total Out of Home Revenue</vt:lpstr>
      <vt:lpstr>UK Digital Out of Home Revenue by Quarter </vt:lpstr>
      <vt:lpstr>UK Digital Out of Home Revenue by Quarter and Environment</vt:lpstr>
      <vt:lpstr>Disclaim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Batt</dc:creator>
  <cp:lastModifiedBy>Shawn Lee (UK)</cp:lastModifiedBy>
  <cp:revision>3</cp:revision>
  <cp:lastPrinted>2015-12-01T08:51:32Z</cp:lastPrinted>
  <dcterms:created xsi:type="dcterms:W3CDTF">2015-08-31T12:50:51Z</dcterms:created>
  <dcterms:modified xsi:type="dcterms:W3CDTF">2026-05-29T09:2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1B775B0B1FE74C8CA7B2B3AA86E510</vt:lpwstr>
  </property>
</Properties>
</file>